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882" r:id="rId5"/>
  </p:sldMasterIdLst>
  <p:notesMasterIdLst>
    <p:notesMasterId r:id="rId8"/>
  </p:notesMasterIdLst>
  <p:sldIdLst>
    <p:sldId id="2147483638" r:id="rId6"/>
    <p:sldId id="268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A3DBD7-3E4A-4EE9-8F73-64877DABC6F7}" type="datetimeFigureOut">
              <a:rPr lang="en-US" smtClean="0"/>
              <a:t>5/2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64BC44-1C71-433D-821A-B6681D7D99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9261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5DB53C-A086-7E40-517A-AE3D020C10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286751-04E6-520D-0EC7-1730858B5D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2F056D-7330-5FDA-EFFD-E78B040428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5D330B-6569-87B4-50BC-F645FFEED5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F5655C-2B22-410C-904A-56978F05BA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733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62F1-6354-63BE-416C-22B2165BD4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FB2DD2-F91B-5CB8-DA22-3F2868ABE3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F713A8-D4F7-BE4D-DDEC-B078524A28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540B06-CC89-5596-0F8A-54AD645160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5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C1DCA1-FDEE-4FC6-ABEE-54D88A6B2CA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5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3012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sv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microsoft.com/office/2007/relationships/hdphoto" Target="../media/hdphoto2.wdp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microsoft.com/office/2007/relationships/hdphoto" Target="../media/hdphoto2.wdp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microsoft.com/office/2007/relationships/hdphoto" Target="../media/hdphoto2.wdp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hyperlink" Target="https://www.youtube.com/user/BirlasoftGlobal" TargetMode="External"/><Relationship Id="rId3" Type="http://schemas.openxmlformats.org/officeDocument/2006/relationships/image" Target="../media/image2.svg"/><Relationship Id="rId7" Type="http://schemas.openxmlformats.org/officeDocument/2006/relationships/hyperlink" Target="https://www.glassdoor.co.in/Overview/Working-at-Birlasoft-EI_IE30748.11,20.htm" TargetMode="External"/><Relationship Id="rId12" Type="http://schemas.openxmlformats.org/officeDocument/2006/relationships/image" Target="../media/image13.svg"/><Relationship Id="rId2" Type="http://schemas.openxmlformats.org/officeDocument/2006/relationships/image" Target="../media/image1.jpeg"/><Relationship Id="rId16" Type="http://schemas.microsoft.com/office/2007/relationships/hdphoto" Target="../media/hdphoto1.wdp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birlasoft.com/" TargetMode="External"/><Relationship Id="rId11" Type="http://schemas.openxmlformats.org/officeDocument/2006/relationships/hyperlink" Target="https://www.twitter.com/birlasoft" TargetMode="External"/><Relationship Id="rId5" Type="http://schemas.openxmlformats.org/officeDocument/2006/relationships/image" Target="../media/image10.svg"/><Relationship Id="rId15" Type="http://schemas.openxmlformats.org/officeDocument/2006/relationships/image" Target="../media/image3.png"/><Relationship Id="rId10" Type="http://schemas.openxmlformats.org/officeDocument/2006/relationships/image" Target="../media/image12.svg"/><Relationship Id="rId4" Type="http://schemas.openxmlformats.org/officeDocument/2006/relationships/hyperlink" Target="https://www.linkedin.com/company/birlasoft" TargetMode="External"/><Relationship Id="rId9" Type="http://schemas.openxmlformats.org/officeDocument/2006/relationships/hyperlink" Target="https://www.facebook.com/Birlasoft" TargetMode="External"/><Relationship Id="rId14" Type="http://schemas.openxmlformats.org/officeDocument/2006/relationships/image" Target="../media/image1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Onl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0038" y="238487"/>
            <a:ext cx="11591925" cy="558346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2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929CAE08-136F-4EA4-BF6E-8C2BC337833C}"/>
              </a:ext>
            </a:extLst>
          </p:cNvPr>
          <p:cNvSpPr txBox="1">
            <a:spLocks/>
          </p:cNvSpPr>
          <p:nvPr/>
        </p:nvSpPr>
        <p:spPr>
          <a:xfrm>
            <a:off x="1704974" y="6527554"/>
            <a:ext cx="4114800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>
                <a:solidFill>
                  <a:schemeClr val="tx2"/>
                </a:solidFill>
                <a:latin typeface="+mj-lt"/>
              </a:rPr>
              <a:t>© 2023 Birlasoft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6794758D-2E2D-4112-BA94-8F44EC569CDC}"/>
              </a:ext>
            </a:extLst>
          </p:cNvPr>
          <p:cNvSpPr txBox="1">
            <a:spLocks/>
          </p:cNvSpPr>
          <p:nvPr/>
        </p:nvSpPr>
        <p:spPr>
          <a:xfrm>
            <a:off x="309563" y="6527554"/>
            <a:ext cx="341949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C1CC88B-8153-4770-B0DF-840C5C37FBC3}" type="slidenum">
              <a:rPr lang="en-IN" smtClean="0">
                <a:solidFill>
                  <a:schemeClr val="tx2"/>
                </a:solidFill>
                <a:latin typeface="+mj-lt"/>
              </a:rPr>
              <a:pPr/>
              <a:t>‹#›</a:t>
            </a:fld>
            <a:endParaRPr lang="en-IN">
              <a:solidFill>
                <a:schemeClr val="tx2"/>
              </a:solidFill>
              <a:latin typeface="+mj-lt"/>
            </a:endParaRP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91537D8-C245-4592-9F16-D5674C12F89D}"/>
              </a:ext>
            </a:extLst>
          </p:cNvPr>
          <p:cNvSpPr txBox="1">
            <a:spLocks/>
          </p:cNvSpPr>
          <p:nvPr/>
        </p:nvSpPr>
        <p:spPr>
          <a:xfrm>
            <a:off x="830580" y="6526155"/>
            <a:ext cx="695326" cy="2326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363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EF598-DD41-4849-8A14-1B5F91BEB9F1}" type="datetime1">
              <a:rPr lang="en-US" smtClean="0">
                <a:solidFill>
                  <a:schemeClr val="tx2"/>
                </a:solidFill>
                <a:latin typeface="+mj-lt"/>
              </a:rPr>
              <a:pPr/>
              <a:t>5/25/2026</a:t>
            </a:fld>
            <a:endParaRPr lang="en-US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548818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3095557-724A-4CBF-B484-09A18EBBF2C7}"/>
              </a:ext>
            </a:extLst>
          </p:cNvPr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5" rIns="108852" bIns="54425" rtlCol="0" anchor="ctr"/>
          <a:lstStyle/>
          <a:p>
            <a:pPr algn="ctr"/>
            <a:endParaRPr lang="en-US" sz="15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CAAF79E-CD54-40A4-975D-01C39AEA90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74638"/>
            <a:ext cx="11049000" cy="609600"/>
          </a:xfrm>
        </p:spPr>
        <p:txBody>
          <a:bodyPr lIns="0" tIns="0" rIns="0" bIns="0" anchor="t" anchorCtr="0">
            <a:noAutofit/>
          </a:bodyPr>
          <a:lstStyle>
            <a:lvl1pPr algn="l">
              <a:defRPr sz="23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0B326F22-2BF8-40F5-9279-B4FB665CEA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2000" y="6515100"/>
            <a:ext cx="609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DE21DA9C-90D5-4DA8-AC8B-42F7AEB8B792}" type="datetime1">
              <a:rPr lang="en-US" smtClean="0"/>
              <a:t>5/25/2026</a:t>
            </a:fld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7B1350D3-FCEF-48C5-B222-05F20558F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15100"/>
            <a:ext cx="7848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r>
              <a:rPr lang="en-US"/>
              <a:t>Sample footer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B67B330-B2D6-458A-B541-C2C90ABA0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800" y="6515100"/>
            <a:ext cx="3048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E401A22-61AB-4C49-98C1-36780F255BA1}"/>
              </a:ext>
            </a:extLst>
          </p:cNvPr>
          <p:cNvCxnSpPr/>
          <p:nvPr userDrawn="1"/>
        </p:nvCxnSpPr>
        <p:spPr>
          <a:xfrm rot="5400000">
            <a:off x="519642" y="6628345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7F456C9-8116-4992-89D0-F65984D92E09}"/>
              </a:ext>
            </a:extLst>
          </p:cNvPr>
          <p:cNvCxnSpPr/>
          <p:nvPr userDrawn="1"/>
        </p:nvCxnSpPr>
        <p:spPr>
          <a:xfrm rot="5400000">
            <a:off x="1293284" y="6628345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DC00C6E-179D-439E-938D-CE5F93CA4114}"/>
              </a:ext>
            </a:extLst>
          </p:cNvPr>
          <p:cNvCxnSpPr/>
          <p:nvPr userDrawn="1"/>
        </p:nvCxnSpPr>
        <p:spPr>
          <a:xfrm rot="5400000">
            <a:off x="2865967" y="6628345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FE4923D5-D3A4-4348-AF6E-6BD084A043E0}"/>
              </a:ext>
            </a:extLst>
          </p:cNvPr>
          <p:cNvSpPr txBox="1">
            <a:spLocks/>
          </p:cNvSpPr>
          <p:nvPr userDrawn="1"/>
        </p:nvSpPr>
        <p:spPr>
          <a:xfrm>
            <a:off x="1513416" y="6515100"/>
            <a:ext cx="1381125" cy="228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marL="0" marR="0" lvl="0" indent="0" algn="l" defTabSz="762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© KPIT Technologies Limite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2BA1DAE-C59D-4BE1-8C97-71E14A7AB867}"/>
              </a:ext>
            </a:extLst>
          </p:cNvPr>
          <p:cNvSpPr/>
          <p:nvPr userDrawn="1"/>
        </p:nvSpPr>
        <p:spPr>
          <a:xfrm>
            <a:off x="11658600" y="304800"/>
            <a:ext cx="533400" cy="381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D081A01-4495-45B4-B575-C48769462A6D}"/>
              </a:ext>
            </a:extLst>
          </p:cNvPr>
          <p:cNvSpPr/>
          <p:nvPr userDrawn="1"/>
        </p:nvSpPr>
        <p:spPr>
          <a:xfrm>
            <a:off x="0" y="6339192"/>
            <a:ext cx="12192000" cy="616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5" rIns="108852" bIns="54425" rtlCol="0" anchor="ctr"/>
          <a:lstStyle/>
          <a:p>
            <a:pPr algn="ctr"/>
            <a:endParaRPr lang="en-US" sz="1500"/>
          </a:p>
        </p:txBody>
      </p:sp>
      <p:pic>
        <p:nvPicPr>
          <p:cNvPr id="29" name="Picture 28" descr="KPIT logo-(RGB).png">
            <a:extLst>
              <a:ext uri="{FF2B5EF4-FFF2-40B4-BE49-F238E27FC236}">
                <a16:creationId xmlns:a16="http://schemas.microsoft.com/office/drawing/2014/main" id="{FC0F0682-72FA-4472-BBB0-90782EF044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8154" y="6369998"/>
            <a:ext cx="1065491" cy="48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114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04800" y="277371"/>
            <a:ext cx="11049000" cy="60960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2751">
                <a:solidFill>
                  <a:schemeClr val="tx2"/>
                </a:solidFill>
              </a:defRPr>
            </a:lvl1pPr>
            <a:lvl2pPr marL="544237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474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71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948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1183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42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65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89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he titl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1658600" y="304800"/>
            <a:ext cx="533400" cy="381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7519" y="1005389"/>
            <a:ext cx="11351665" cy="5132632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5" rIns="108852" bIns="54425" rtlCol="0" anchor="ctr"/>
          <a:lstStyle/>
          <a:p>
            <a:pPr algn="ctr"/>
            <a:endParaRPr lang="en-US" sz="1500"/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515100"/>
            <a:ext cx="609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13B6EE22-DF9D-425E-88AE-76723961C856}" type="datetime1">
              <a:rPr lang="en-US" smtClean="0"/>
              <a:t>5/25/2026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515100"/>
            <a:ext cx="7848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4800" y="6515100"/>
            <a:ext cx="3048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5" name="Straight Connector 24"/>
          <p:cNvCxnSpPr/>
          <p:nvPr userDrawn="1"/>
        </p:nvCxnSpPr>
        <p:spPr>
          <a:xfrm rot="5400000">
            <a:off x="519642" y="6628343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1293284" y="6628343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2865967" y="6628343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1513416" y="6515100"/>
            <a:ext cx="1381125" cy="228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© KPIT Technologies Limited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6339192"/>
            <a:ext cx="12192000" cy="616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5" rIns="108852" bIns="54425" rtlCol="0" anchor="ctr"/>
          <a:lstStyle/>
          <a:p>
            <a:pPr algn="ctr"/>
            <a:endParaRPr lang="en-US" sz="1500"/>
          </a:p>
        </p:txBody>
      </p:sp>
      <p:pic>
        <p:nvPicPr>
          <p:cNvPr id="30" name="Picture 29" descr="KPIT logo-(RGB)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8152" y="6369998"/>
            <a:ext cx="1065491" cy="48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8390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04800" y="277370"/>
            <a:ext cx="11049000" cy="60960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2750">
                <a:solidFill>
                  <a:schemeClr val="tx2"/>
                </a:solidFill>
              </a:defRPr>
            </a:lvl1pPr>
            <a:lvl2pPr marL="544193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386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58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773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0966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159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352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546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1008188"/>
            <a:ext cx="11364384" cy="521894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714"/>
              </a:spcBef>
              <a:buNone/>
              <a:defRPr sz="2000"/>
            </a:lvl1pPr>
            <a:lvl2pPr marL="0" indent="0">
              <a:spcBef>
                <a:spcPts val="714"/>
              </a:spcBef>
              <a:buNone/>
              <a:defRPr sz="2167"/>
            </a:lvl2pPr>
            <a:lvl3pPr marL="0" indent="0">
              <a:spcBef>
                <a:spcPts val="714"/>
              </a:spcBef>
              <a:buNone/>
              <a:defRPr sz="2167"/>
            </a:lvl3pPr>
            <a:lvl4pPr marL="0" indent="0">
              <a:spcBef>
                <a:spcPts val="714"/>
              </a:spcBef>
              <a:buNone/>
              <a:defRPr sz="2167"/>
            </a:lvl4pPr>
            <a:lvl5pPr marL="0" indent="0">
              <a:spcBef>
                <a:spcPts val="714"/>
              </a:spcBef>
              <a:buNone/>
              <a:defRPr sz="2167"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1658600" y="304800"/>
            <a:ext cx="533400" cy="381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386"/>
            <a:endParaRPr lang="en-US" sz="2167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7521" y="1005389"/>
            <a:ext cx="9273367" cy="762000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6" rIns="108852" bIns="54426" rtlCol="0" anchor="ctr"/>
          <a:lstStyle/>
          <a:p>
            <a:pPr algn="ctr" defTabSz="1088386"/>
            <a:endParaRPr lang="en-US" sz="2167">
              <a:solidFill>
                <a:prstClr val="white"/>
              </a:solidFill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515100"/>
            <a:ext cx="609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5DA298BE-097B-4B1C-98E7-2B94A78709C4}" type="datetime1">
              <a:rPr lang="en-US" smtClean="0">
                <a:solidFill>
                  <a:prstClr val="white"/>
                </a:solidFill>
              </a:rPr>
              <a:t>5/25/2026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515100"/>
            <a:ext cx="7848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4800" y="6515100"/>
            <a:ext cx="3048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25" name="Straight Connector 24"/>
          <p:cNvCxnSpPr/>
          <p:nvPr userDrawn="1"/>
        </p:nvCxnSpPr>
        <p:spPr>
          <a:xfrm rot="5400000">
            <a:off x="519642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1293283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2865967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1513418" y="6515100"/>
            <a:ext cx="1381125" cy="228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327">
              <a:defRPr/>
            </a:pPr>
            <a:r>
              <a:rPr lang="en-US" sz="833">
                <a:solidFill>
                  <a:prstClr val="white"/>
                </a:solidFill>
                <a:cs typeface="Segoe UI" pitchFamily="34" charset="0"/>
              </a:rPr>
              <a:t>© KPIT Technologies Limited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6339192"/>
            <a:ext cx="12192000" cy="616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6" rIns="108852" bIns="54426" rtlCol="0" anchor="ctr"/>
          <a:lstStyle/>
          <a:p>
            <a:pPr algn="ctr" defTabSz="1088386"/>
            <a:endParaRPr lang="en-US" sz="2167">
              <a:solidFill>
                <a:prstClr val="white"/>
              </a:solidFill>
            </a:endParaRPr>
          </a:p>
        </p:txBody>
      </p:sp>
      <p:pic>
        <p:nvPicPr>
          <p:cNvPr id="30" name="Picture 29" descr="KPIT logo-(RGB)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8152" y="6369998"/>
            <a:ext cx="1065490" cy="48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20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Onl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0037" y="225425"/>
            <a:ext cx="11591925" cy="6080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Copyright Birlasoft 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/>
              <a:t>‹#›</a:t>
            </a:fld>
            <a:endParaRPr lang="en-IN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1767DF0-31DA-4057-98BB-A05418CA43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0580" y="6519874"/>
            <a:ext cx="695326" cy="232668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A85924D-0FA3-4123-9227-6F9E40B25C12}" type="datetime1">
              <a:rPr lang="en-US" smtClean="0"/>
              <a:t>5/25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1667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Only Title slid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0038" y="225425"/>
            <a:ext cx="11591925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E432990-150A-4D54-AC7A-F5AD4D083C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0038" y="993776"/>
            <a:ext cx="11591925" cy="365125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IN"/>
              <a:t>Subtitle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A1ECD18D-8362-4247-9588-709DD762D6B9}"/>
              </a:ext>
            </a:extLst>
          </p:cNvPr>
          <p:cNvSpPr txBox="1">
            <a:spLocks/>
          </p:cNvSpPr>
          <p:nvPr/>
        </p:nvSpPr>
        <p:spPr>
          <a:xfrm>
            <a:off x="1704974" y="6527554"/>
            <a:ext cx="4114800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/>
              <a:t>© 2023 Birlasof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B504604-38E7-490D-8D63-4A438E8BA157}"/>
              </a:ext>
            </a:extLst>
          </p:cNvPr>
          <p:cNvSpPr txBox="1">
            <a:spLocks/>
          </p:cNvSpPr>
          <p:nvPr/>
        </p:nvSpPr>
        <p:spPr>
          <a:xfrm>
            <a:off x="309563" y="6527554"/>
            <a:ext cx="341949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C1CC88B-8153-4770-B0DF-840C5C37FBC3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7A703749-D1D4-4E92-B463-7AD2C37FB8BA}"/>
              </a:ext>
            </a:extLst>
          </p:cNvPr>
          <p:cNvSpPr txBox="1">
            <a:spLocks/>
          </p:cNvSpPr>
          <p:nvPr/>
        </p:nvSpPr>
        <p:spPr>
          <a:xfrm>
            <a:off x="830580" y="6526155"/>
            <a:ext cx="695326" cy="2326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363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EF598-DD41-4849-8A14-1B5F91BEB9F1}" type="datetime1">
              <a:rPr lang="en-US" smtClean="0"/>
              <a:pPr/>
              <a:t>5/25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055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01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 bwMode="auto">
          <a:xfrm>
            <a:off x="152400" y="228599"/>
            <a:ext cx="11887200" cy="612648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600" b="1">
                <a:solidFill>
                  <a:srgbClr val="ED1C24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0668761" y="-1478701"/>
            <a:ext cx="45720" cy="2695956"/>
            <a:chOff x="9248399" y="1181101"/>
            <a:chExt cx="45720" cy="2021967"/>
          </a:xfrm>
        </p:grpSpPr>
        <p:sp>
          <p:nvSpPr>
            <p:cNvPr id="4" name="Rectangle 3"/>
            <p:cNvSpPr/>
            <p:nvPr userDrawn="1"/>
          </p:nvSpPr>
          <p:spPr>
            <a:xfrm>
              <a:off x="9248399" y="1181101"/>
              <a:ext cx="45720" cy="45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9248399" y="1285114"/>
              <a:ext cx="45720" cy="45720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9248399" y="1389127"/>
              <a:ext cx="45720" cy="45720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248399" y="1493140"/>
              <a:ext cx="45720" cy="4572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248399" y="1597153"/>
              <a:ext cx="45720" cy="4572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248399" y="1701166"/>
              <a:ext cx="45720" cy="4572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48399" y="1805179"/>
              <a:ext cx="45720" cy="4572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48399" y="1909192"/>
              <a:ext cx="45720" cy="4572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9248399" y="2013205"/>
              <a:ext cx="45720" cy="45720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48399" y="2117218"/>
              <a:ext cx="45720" cy="4572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48399" y="2221231"/>
              <a:ext cx="45720" cy="45720"/>
            </a:xfrm>
            <a:prstGeom prst="rect">
              <a:avLst/>
            </a:prstGeom>
            <a:solidFill>
              <a:srgbClr val="F2BE4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48399" y="2325244"/>
              <a:ext cx="45720" cy="45720"/>
            </a:xfrm>
            <a:prstGeom prst="rect">
              <a:avLst/>
            </a:prstGeom>
            <a:solidFill>
              <a:srgbClr val="8A9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48399" y="2429257"/>
              <a:ext cx="45720" cy="45720"/>
            </a:xfrm>
            <a:prstGeom prst="rect">
              <a:avLst/>
            </a:prstGeom>
            <a:solidFill>
              <a:srgbClr val="3A75B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48399" y="2533270"/>
              <a:ext cx="45720" cy="45720"/>
            </a:xfrm>
            <a:prstGeom prst="rect">
              <a:avLst/>
            </a:prstGeom>
            <a:solidFill>
              <a:srgbClr val="875B4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48399" y="2637283"/>
              <a:ext cx="45720" cy="45720"/>
            </a:xfrm>
            <a:prstGeom prst="rect">
              <a:avLst/>
            </a:prstGeom>
            <a:solidFill>
              <a:srgbClr val="EA222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48399" y="2741296"/>
              <a:ext cx="45720" cy="45720"/>
            </a:xfrm>
            <a:prstGeom prst="rect">
              <a:avLst/>
            </a:prstGeom>
            <a:solidFill>
              <a:srgbClr val="65A0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48399" y="2845309"/>
              <a:ext cx="45720" cy="45720"/>
            </a:xfrm>
            <a:prstGeom prst="rect">
              <a:avLst/>
            </a:prstGeom>
            <a:solidFill>
              <a:srgbClr val="285A2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48399" y="2949322"/>
              <a:ext cx="45720" cy="45720"/>
            </a:xfrm>
            <a:prstGeom prst="rect">
              <a:avLst/>
            </a:prstGeom>
            <a:solidFill>
              <a:srgbClr val="F7991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48399" y="3053335"/>
              <a:ext cx="45720" cy="45720"/>
            </a:xfrm>
            <a:prstGeom prst="rect">
              <a:avLst/>
            </a:prstGeom>
            <a:solidFill>
              <a:srgbClr val="CF72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48399" y="3157348"/>
              <a:ext cx="45720" cy="45720"/>
            </a:xfrm>
            <a:prstGeom prst="rect">
              <a:avLst/>
            </a:prstGeom>
            <a:solidFill>
              <a:srgbClr val="A2AC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>
                <a:solidFill>
                  <a:schemeClr val="bg1"/>
                </a:solidFill>
              </a:endParaRPr>
            </a:p>
          </p:txBody>
        </p:sp>
      </p:grpSp>
      <p:sp>
        <p:nvSpPr>
          <p:cNvPr id="24" name="Date Placeholder 2"/>
          <p:cNvSpPr txBox="1">
            <a:spLocks/>
          </p:cNvSpPr>
          <p:nvPr userDrawn="1"/>
        </p:nvSpPr>
        <p:spPr bwMode="auto">
          <a:xfrm>
            <a:off x="610835" y="6530208"/>
            <a:ext cx="1828800" cy="18288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109723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CF2D9DD-11B1-4305-B230-DACDD19E621C}" type="datetime5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109723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-May-26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| © 2020 Birlasoft Inc.</a:t>
            </a:r>
          </a:p>
        </p:txBody>
      </p:sp>
      <p:sp>
        <p:nvSpPr>
          <p:cNvPr id="25" name="Slide Number"/>
          <p:cNvSpPr txBox="1">
            <a:spLocks noChangeAspect="1"/>
          </p:cNvSpPr>
          <p:nvPr userDrawn="1"/>
        </p:nvSpPr>
        <p:spPr bwMode="auto">
          <a:xfrm>
            <a:off x="152400" y="6530208"/>
            <a:ext cx="243840" cy="18288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z="800" smtClean="0">
                <a:solidFill>
                  <a:schemeClr val="bg1">
                    <a:lumMod val="50000"/>
                  </a:schemeClr>
                </a:solidFill>
              </a:rPr>
              <a:pPr lvl="0" algn="ctr"/>
              <a:t>‹#›</a:t>
            </a:fld>
            <a:endParaRPr lang="en-US" sz="8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8918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2128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44171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2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0364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41FE6C0-D967-4A72-7606-1D2AB313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032475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1BF0BD0-D58F-FB68-5BEA-F987CFB09A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349" y="1222513"/>
            <a:ext cx="11032475" cy="4830417"/>
          </a:xfrm>
        </p:spPr>
        <p:txBody>
          <a:bodyPr/>
          <a:lstStyle>
            <a:lvl1pPr marL="342900" indent="-342900" algn="l" defTabSz="914363" rtl="0" eaLnBrk="1" latinLnBrk="0" hangingPunct="1">
              <a:spcBef>
                <a:spcPts val="600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24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spcBef>
                <a:spcPts val="600"/>
              </a:spcBef>
              <a:buClr>
                <a:schemeClr val="accent1"/>
              </a:buClr>
              <a:buSzPct val="80000"/>
              <a:defRPr sz="2000">
                <a:solidFill>
                  <a:schemeClr val="tx1"/>
                </a:solidFill>
                <a:latin typeface="+mj-lt"/>
              </a:defRPr>
            </a:lvl2pPr>
            <a:lvl3pPr>
              <a:spcBef>
                <a:spcPts val="600"/>
              </a:spcBef>
              <a:buClr>
                <a:schemeClr val="accent1"/>
              </a:buClr>
              <a:buSzPct val="80000"/>
              <a:defRPr sz="1600">
                <a:solidFill>
                  <a:schemeClr val="tx1"/>
                </a:solidFill>
                <a:latin typeface="+mj-lt"/>
              </a:defRPr>
            </a:lvl3pPr>
            <a:lvl4pPr>
              <a:spcBef>
                <a:spcPts val="600"/>
              </a:spcBef>
              <a:buClr>
                <a:schemeClr val="accent1"/>
              </a:buClr>
              <a:buSzPct val="80000"/>
              <a:defRPr sz="1200">
                <a:solidFill>
                  <a:schemeClr val="tx1"/>
                </a:solidFill>
                <a:latin typeface="+mj-lt"/>
              </a:defRPr>
            </a:lvl4pPr>
            <a:lvl5pPr>
              <a:spcBef>
                <a:spcPts val="600"/>
              </a:spcBef>
              <a:buClr>
                <a:schemeClr val="accent1"/>
              </a:buClr>
              <a:buSzPct val="80000"/>
              <a:defRPr sz="1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8383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7304955-1F36-7A73-4D76-A705D9C20D8F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2024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5C1C449-B059-78FC-47CE-12B6264B342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0"/>
            <a:ext cx="3251201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FC3D8239-FADB-2EDD-4741-2C6786D187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1448" y="829709"/>
            <a:ext cx="4895182" cy="608012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783701-EF34-D4AC-02FF-A16BCF6C26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71448" y="1861897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462FFA9-4428-A153-700A-5569091CC6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1448" y="2398154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F42538A-28A0-73C1-BA46-32ED23C9EA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71448" y="2934411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327E640-1FEE-B70A-CFD7-B5FC28D3E0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1448" y="3470668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AFDC14E-F662-9A35-5BA1-B21E9E6470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71448" y="4006925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9E5DF79-C37C-7BDE-3434-58842E0D4D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71448" y="4543182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11CB46E-A9A2-5A37-0FDE-7F094141BD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71448" y="5079439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203D5E0-F13D-5870-98F6-BEFBC0E323C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71448" y="5615694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7096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D437788-DC96-F6C5-A832-96D2945F35FC}"/>
              </a:ext>
            </a:extLst>
          </p:cNvPr>
          <p:cNvGrpSpPr/>
          <p:nvPr/>
        </p:nvGrpSpPr>
        <p:grpSpPr>
          <a:xfrm>
            <a:off x="0" y="1433244"/>
            <a:ext cx="12192000" cy="5723617"/>
            <a:chOff x="0" y="1433244"/>
            <a:chExt cx="12192000" cy="57236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996152D-0857-F5D7-6A2C-B54B05F4A690}"/>
                </a:ext>
              </a:extLst>
            </p:cNvPr>
            <p:cNvSpPr/>
            <p:nvPr userDrawn="1"/>
          </p:nvSpPr>
          <p:spPr>
            <a:xfrm>
              <a:off x="0" y="1433244"/>
              <a:ext cx="5581650" cy="572229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5" name="Picture 4" descr="A person touching a large display of colorful squares&#10;&#10;Description automatically generated">
              <a:extLst>
                <a:ext uri="{FF2B5EF4-FFF2-40B4-BE49-F238E27FC236}">
                  <a16:creationId xmlns:a16="http://schemas.microsoft.com/office/drawing/2014/main" id="{484CF8CB-A2E7-0C55-715B-CD96047A4B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5717" y="1433245"/>
              <a:ext cx="8586283" cy="5723616"/>
            </a:xfrm>
            <a:prstGeom prst="rect">
              <a:avLst/>
            </a:prstGeom>
          </p:spPr>
        </p:pic>
      </p:grpSp>
      <p:pic>
        <p:nvPicPr>
          <p:cNvPr id="8" name="Graphic 7">
            <a:extLst>
              <a:ext uri="{FF2B5EF4-FFF2-40B4-BE49-F238E27FC236}">
                <a16:creationId xmlns:a16="http://schemas.microsoft.com/office/drawing/2014/main" id="{130562DD-073F-46B6-0AFB-C6AA97B1F9EE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350" y="222534"/>
            <a:ext cx="2406650" cy="1098688"/>
          </a:xfrm>
          <a:prstGeom prst="rect">
            <a:avLst/>
          </a:prstGeom>
        </p:spPr>
      </p:pic>
      <p:pic>
        <p:nvPicPr>
          <p:cNvPr id="9" name="Picture 8" descr="Shape, arrow&#10;&#10;Description automatically generated">
            <a:extLst>
              <a:ext uri="{FF2B5EF4-FFF2-40B4-BE49-F238E27FC236}">
                <a16:creationId xmlns:a16="http://schemas.microsoft.com/office/drawing/2014/main" id="{50BAED42-4D59-CD90-8589-703444827B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127538">
            <a:off x="9208229" y="690377"/>
            <a:ext cx="1786655" cy="1659147"/>
          </a:xfrm>
          <a:prstGeom prst="rect">
            <a:avLst/>
          </a:prstGeom>
          <a:effectLst>
            <a:outerShdw blurRad="558800" dist="241300" dir="6000000" sx="97000" sy="97000" algn="ctr" rotWithShape="0">
              <a:srgbClr val="000000">
                <a:alpha val="73000"/>
              </a:srgbClr>
            </a:outerShdw>
          </a:effectLst>
        </p:spPr>
      </p:pic>
      <p:sp>
        <p:nvSpPr>
          <p:cNvPr id="3" name="Title 3">
            <a:extLst>
              <a:ext uri="{FF2B5EF4-FFF2-40B4-BE49-F238E27FC236}">
                <a16:creationId xmlns:a16="http://schemas.microsoft.com/office/drawing/2014/main" id="{9B10BDFB-7C05-CE46-414B-4F03975F4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844" y="2037806"/>
            <a:ext cx="4524376" cy="2539021"/>
          </a:xfrm>
          <a:prstGeom prst="rect">
            <a:avLst/>
          </a:prstGeom>
        </p:spPr>
        <p:txBody>
          <a:bodyPr anchor="t"/>
          <a:lstStyle>
            <a:lvl1pPr marL="0" algn="l" defTabSz="914400" rtl="0" eaLnBrk="1" latinLnBrk="0" hangingPunct="1">
              <a:defRPr lang="en-US" sz="4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17964919-89BF-9A6D-332B-0A6E1C247737}"/>
              </a:ext>
            </a:extLst>
          </p:cNvPr>
          <p:cNvSpPr txBox="1">
            <a:spLocks/>
          </p:cNvSpPr>
          <p:nvPr/>
        </p:nvSpPr>
        <p:spPr>
          <a:xfrm>
            <a:off x="670844" y="6484983"/>
            <a:ext cx="1000718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8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© 2024 Birlasoft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1FBA647-6D3B-4009-FBD3-04AD0A66E3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1513" y="4578149"/>
            <a:ext cx="4524375" cy="100860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buNone/>
              <a:defRPr lang="en-US" sz="20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Font typeface="Arial" panose="020B0604020202020204" pitchFamily="34" charset="0"/>
              <a:buNone/>
              <a:defRPr lang="en-US" sz="20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defRPr lang="en-US" sz="20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defRPr lang="en-US" sz="20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defRPr lang="en-IN" sz="20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180D0A4C-8712-B15E-D543-D24AAFBA2A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1513" y="2904228"/>
            <a:ext cx="4524375" cy="421332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Font typeface="Arial" panose="020B0604020202020204" pitchFamily="34" charset="0"/>
              <a:buNone/>
              <a:defRPr lang="en-US" sz="20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defRPr lang="en-US" sz="20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defRPr lang="en-US" sz="20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defRPr lang="en-IN" sz="20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4748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2">
            <a:extLst>
              <a:ext uri="{FF2B5EF4-FFF2-40B4-BE49-F238E27FC236}">
                <a16:creationId xmlns:a16="http://schemas.microsoft.com/office/drawing/2014/main" id="{CB519E9E-D055-4000-ED62-160D787F8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4010" y="3094730"/>
            <a:ext cx="1668026" cy="505732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374FA1F-368A-079A-5B9E-75F0FF568529}"/>
              </a:ext>
            </a:extLst>
          </p:cNvPr>
          <p:cNvSpPr/>
          <p:nvPr/>
        </p:nvSpPr>
        <p:spPr>
          <a:xfrm>
            <a:off x="4708387" y="860831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1</a:t>
            </a:r>
            <a:endParaRPr lang="en-IN" b="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51E2E1F-2BA0-48EE-6B1D-990268540C56}"/>
              </a:ext>
            </a:extLst>
          </p:cNvPr>
          <p:cNvCxnSpPr>
            <a:cxnSpLocks/>
          </p:cNvCxnSpPr>
          <p:nvPr/>
        </p:nvCxnSpPr>
        <p:spPr>
          <a:xfrm>
            <a:off x="4380152" y="1079713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4AA4998-6A09-4F96-D561-B09028C17B78}"/>
              </a:ext>
            </a:extLst>
          </p:cNvPr>
          <p:cNvCxnSpPr>
            <a:cxnSpLocks/>
          </p:cNvCxnSpPr>
          <p:nvPr/>
        </p:nvCxnSpPr>
        <p:spPr>
          <a:xfrm>
            <a:off x="4380152" y="1513841"/>
            <a:ext cx="654069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0435808-1D15-788E-29F8-58A39AAFAD7C}"/>
              </a:ext>
            </a:extLst>
          </p:cNvPr>
          <p:cNvCxnSpPr>
            <a:cxnSpLocks/>
          </p:cNvCxnSpPr>
          <p:nvPr/>
        </p:nvCxnSpPr>
        <p:spPr>
          <a:xfrm>
            <a:off x="4380152" y="2382098"/>
            <a:ext cx="654069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BC001EB8-8844-9B02-3227-7C06A8B8C27F}"/>
              </a:ext>
            </a:extLst>
          </p:cNvPr>
          <p:cNvSpPr/>
          <p:nvPr/>
        </p:nvSpPr>
        <p:spPr>
          <a:xfrm>
            <a:off x="4708387" y="2597345"/>
            <a:ext cx="437764" cy="43776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3</a:t>
            </a:r>
            <a:endParaRPr lang="en-IN" b="1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C698F8B-4F83-9477-8E84-A4379940E546}"/>
              </a:ext>
            </a:extLst>
          </p:cNvPr>
          <p:cNvCxnSpPr>
            <a:cxnSpLocks/>
          </p:cNvCxnSpPr>
          <p:nvPr/>
        </p:nvCxnSpPr>
        <p:spPr>
          <a:xfrm>
            <a:off x="4380152" y="2816227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551D450-F01C-80DA-FCC3-7B77386C9438}"/>
              </a:ext>
            </a:extLst>
          </p:cNvPr>
          <p:cNvCxnSpPr>
            <a:cxnSpLocks/>
          </p:cNvCxnSpPr>
          <p:nvPr/>
        </p:nvCxnSpPr>
        <p:spPr>
          <a:xfrm>
            <a:off x="4380152" y="3250355"/>
            <a:ext cx="654069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F8CA72D7-D1B5-48D5-75B6-2996AFC582E8}"/>
              </a:ext>
            </a:extLst>
          </p:cNvPr>
          <p:cNvSpPr/>
          <p:nvPr/>
        </p:nvSpPr>
        <p:spPr>
          <a:xfrm>
            <a:off x="4708387" y="3465602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4</a:t>
            </a:r>
            <a:endParaRPr lang="en-IN" b="1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DCF15C2-E836-945D-81B2-A50BF817FE03}"/>
              </a:ext>
            </a:extLst>
          </p:cNvPr>
          <p:cNvCxnSpPr>
            <a:cxnSpLocks/>
          </p:cNvCxnSpPr>
          <p:nvPr/>
        </p:nvCxnSpPr>
        <p:spPr>
          <a:xfrm>
            <a:off x="4380152" y="3684484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964DBF4-98B5-D880-D69B-07B12530C99E}"/>
              </a:ext>
            </a:extLst>
          </p:cNvPr>
          <p:cNvCxnSpPr>
            <a:cxnSpLocks/>
          </p:cNvCxnSpPr>
          <p:nvPr/>
        </p:nvCxnSpPr>
        <p:spPr>
          <a:xfrm>
            <a:off x="4380152" y="4118612"/>
            <a:ext cx="654069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02FFCE16-DEA4-4716-9975-5F12DC33BD8A}"/>
              </a:ext>
            </a:extLst>
          </p:cNvPr>
          <p:cNvSpPr/>
          <p:nvPr/>
        </p:nvSpPr>
        <p:spPr>
          <a:xfrm>
            <a:off x="4708387" y="4333859"/>
            <a:ext cx="437764" cy="43776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5</a:t>
            </a:r>
            <a:endParaRPr lang="en-IN" b="1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569EAB3-85F8-31E8-BEA0-7C370E83E30F}"/>
              </a:ext>
            </a:extLst>
          </p:cNvPr>
          <p:cNvCxnSpPr>
            <a:cxnSpLocks/>
          </p:cNvCxnSpPr>
          <p:nvPr/>
        </p:nvCxnSpPr>
        <p:spPr>
          <a:xfrm>
            <a:off x="4380152" y="4552741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AF38A69-FC36-E05A-8DBD-3DB163D0C8F4}"/>
              </a:ext>
            </a:extLst>
          </p:cNvPr>
          <p:cNvCxnSpPr>
            <a:cxnSpLocks/>
          </p:cNvCxnSpPr>
          <p:nvPr/>
        </p:nvCxnSpPr>
        <p:spPr>
          <a:xfrm>
            <a:off x="4380152" y="4986869"/>
            <a:ext cx="654069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52C9F5A0-C445-F4F9-521D-533BB25CAADB}"/>
              </a:ext>
            </a:extLst>
          </p:cNvPr>
          <p:cNvSpPr/>
          <p:nvPr/>
        </p:nvSpPr>
        <p:spPr>
          <a:xfrm>
            <a:off x="4708387" y="5202118"/>
            <a:ext cx="437764" cy="43776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6</a:t>
            </a:r>
            <a:endParaRPr lang="en-IN" b="1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3E63552-4B0F-CFE8-83E8-17F4C8FF58CA}"/>
              </a:ext>
            </a:extLst>
          </p:cNvPr>
          <p:cNvCxnSpPr>
            <a:cxnSpLocks/>
          </p:cNvCxnSpPr>
          <p:nvPr/>
        </p:nvCxnSpPr>
        <p:spPr>
          <a:xfrm>
            <a:off x="4380152" y="5421000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6ADDC5-A811-511F-79AA-5F3A3EC311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6808" y="925283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6A9C9E-9430-5025-6D2A-2A2EA3C180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96808" y="1795079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203D06C-13E1-DE8E-C615-B966560A9CC5}"/>
              </a:ext>
            </a:extLst>
          </p:cNvPr>
          <p:cNvSpPr/>
          <p:nvPr/>
        </p:nvSpPr>
        <p:spPr>
          <a:xfrm>
            <a:off x="4708387" y="1729088"/>
            <a:ext cx="437764" cy="43776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2</a:t>
            </a:r>
            <a:endParaRPr lang="en-IN" b="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1A12CCB-8520-0367-5416-B46E52C49B59}"/>
              </a:ext>
            </a:extLst>
          </p:cNvPr>
          <p:cNvCxnSpPr>
            <a:cxnSpLocks/>
          </p:cNvCxnSpPr>
          <p:nvPr/>
        </p:nvCxnSpPr>
        <p:spPr>
          <a:xfrm>
            <a:off x="4380152" y="1947970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49959D-D7B3-BB03-3C64-5F6568A6C7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96808" y="2664874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55003A8-DCEC-2CB3-2553-A86CAC4904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96808" y="3568123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3F714FC-413F-8B42-D800-F59E00D3D8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96808" y="4415616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5BE7DDA-1F8C-0536-9142-5BDE87E5EA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6808" y="5307714"/>
            <a:ext cx="4503737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5239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D5EB62FD-4297-B9ED-275A-977ED30E5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2970" y="6412465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7DDAA6A5-382C-4354-9575-64C61EEED657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12">
            <a:extLst>
              <a:ext uri="{FF2B5EF4-FFF2-40B4-BE49-F238E27FC236}">
                <a16:creationId xmlns:a16="http://schemas.microsoft.com/office/drawing/2014/main" id="{CB519E9E-D055-4000-ED62-160D787F8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74" y="3062391"/>
            <a:ext cx="1668026" cy="505732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374FA1F-368A-079A-5B9E-75F0FF568529}"/>
              </a:ext>
            </a:extLst>
          </p:cNvPr>
          <p:cNvSpPr/>
          <p:nvPr/>
        </p:nvSpPr>
        <p:spPr>
          <a:xfrm>
            <a:off x="3176081" y="860831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1</a:t>
            </a:r>
            <a:endParaRPr lang="en-IN" b="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51E2E1F-2BA0-48EE-6B1D-990268540C56}"/>
              </a:ext>
            </a:extLst>
          </p:cNvPr>
          <p:cNvCxnSpPr>
            <a:cxnSpLocks/>
          </p:cNvCxnSpPr>
          <p:nvPr/>
        </p:nvCxnSpPr>
        <p:spPr>
          <a:xfrm>
            <a:off x="2847846" y="1079713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4AA4998-6A09-4F96-D561-B09028C17B78}"/>
              </a:ext>
            </a:extLst>
          </p:cNvPr>
          <p:cNvCxnSpPr>
            <a:cxnSpLocks/>
          </p:cNvCxnSpPr>
          <p:nvPr/>
        </p:nvCxnSpPr>
        <p:spPr>
          <a:xfrm>
            <a:off x="2847846" y="1513841"/>
            <a:ext cx="394106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0435808-1D15-788E-29F8-58A39AAFAD7C}"/>
              </a:ext>
            </a:extLst>
          </p:cNvPr>
          <p:cNvCxnSpPr>
            <a:cxnSpLocks/>
          </p:cNvCxnSpPr>
          <p:nvPr/>
        </p:nvCxnSpPr>
        <p:spPr>
          <a:xfrm>
            <a:off x="2847846" y="2382098"/>
            <a:ext cx="394106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BC001EB8-8844-9B02-3227-7C06A8B8C27F}"/>
              </a:ext>
            </a:extLst>
          </p:cNvPr>
          <p:cNvSpPr/>
          <p:nvPr/>
        </p:nvSpPr>
        <p:spPr>
          <a:xfrm>
            <a:off x="3176081" y="2597345"/>
            <a:ext cx="437764" cy="43776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3</a:t>
            </a:r>
            <a:endParaRPr lang="en-IN" b="1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C698F8B-4F83-9477-8E84-A4379940E546}"/>
              </a:ext>
            </a:extLst>
          </p:cNvPr>
          <p:cNvCxnSpPr>
            <a:cxnSpLocks/>
          </p:cNvCxnSpPr>
          <p:nvPr/>
        </p:nvCxnSpPr>
        <p:spPr>
          <a:xfrm>
            <a:off x="2847846" y="2816227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551D450-F01C-80DA-FCC3-7B77386C9438}"/>
              </a:ext>
            </a:extLst>
          </p:cNvPr>
          <p:cNvCxnSpPr>
            <a:cxnSpLocks/>
          </p:cNvCxnSpPr>
          <p:nvPr/>
        </p:nvCxnSpPr>
        <p:spPr>
          <a:xfrm>
            <a:off x="2847846" y="3250355"/>
            <a:ext cx="394106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F8CA72D7-D1B5-48D5-75B6-2996AFC582E8}"/>
              </a:ext>
            </a:extLst>
          </p:cNvPr>
          <p:cNvSpPr/>
          <p:nvPr/>
        </p:nvSpPr>
        <p:spPr>
          <a:xfrm>
            <a:off x="3176081" y="3465602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4</a:t>
            </a:r>
            <a:endParaRPr lang="en-IN" b="1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DCF15C2-E836-945D-81B2-A50BF817FE03}"/>
              </a:ext>
            </a:extLst>
          </p:cNvPr>
          <p:cNvCxnSpPr>
            <a:cxnSpLocks/>
          </p:cNvCxnSpPr>
          <p:nvPr/>
        </p:nvCxnSpPr>
        <p:spPr>
          <a:xfrm>
            <a:off x="2847846" y="3684484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964DBF4-98B5-D880-D69B-07B12530C99E}"/>
              </a:ext>
            </a:extLst>
          </p:cNvPr>
          <p:cNvCxnSpPr>
            <a:cxnSpLocks/>
          </p:cNvCxnSpPr>
          <p:nvPr/>
        </p:nvCxnSpPr>
        <p:spPr>
          <a:xfrm>
            <a:off x="2847846" y="4118612"/>
            <a:ext cx="39389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02FFCE16-DEA4-4716-9975-5F12DC33BD8A}"/>
              </a:ext>
            </a:extLst>
          </p:cNvPr>
          <p:cNvSpPr/>
          <p:nvPr/>
        </p:nvSpPr>
        <p:spPr>
          <a:xfrm>
            <a:off x="3176081" y="4333859"/>
            <a:ext cx="437764" cy="43776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5</a:t>
            </a:r>
            <a:endParaRPr lang="en-IN" b="1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569EAB3-85F8-31E8-BEA0-7C370E83E30F}"/>
              </a:ext>
            </a:extLst>
          </p:cNvPr>
          <p:cNvCxnSpPr>
            <a:cxnSpLocks/>
          </p:cNvCxnSpPr>
          <p:nvPr/>
        </p:nvCxnSpPr>
        <p:spPr>
          <a:xfrm>
            <a:off x="2847846" y="4552741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AF38A69-FC36-E05A-8DBD-3DB163D0C8F4}"/>
              </a:ext>
            </a:extLst>
          </p:cNvPr>
          <p:cNvCxnSpPr>
            <a:cxnSpLocks/>
          </p:cNvCxnSpPr>
          <p:nvPr/>
        </p:nvCxnSpPr>
        <p:spPr>
          <a:xfrm>
            <a:off x="2847846" y="4986869"/>
            <a:ext cx="394106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52C9F5A0-C445-F4F9-521D-533BB25CAADB}"/>
              </a:ext>
            </a:extLst>
          </p:cNvPr>
          <p:cNvSpPr/>
          <p:nvPr/>
        </p:nvSpPr>
        <p:spPr>
          <a:xfrm>
            <a:off x="3176081" y="5202118"/>
            <a:ext cx="437764" cy="43776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6</a:t>
            </a:r>
            <a:endParaRPr lang="en-IN" b="1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3E63552-4B0F-CFE8-83E8-17F4C8FF58CA}"/>
              </a:ext>
            </a:extLst>
          </p:cNvPr>
          <p:cNvCxnSpPr>
            <a:cxnSpLocks/>
          </p:cNvCxnSpPr>
          <p:nvPr/>
        </p:nvCxnSpPr>
        <p:spPr>
          <a:xfrm>
            <a:off x="2847846" y="5421000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6ADDC5-A811-511F-79AA-5F3A3EC311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4503" y="925283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6A9C9E-9430-5025-6D2A-2A2EA3C180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64503" y="1795079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203D06C-13E1-DE8E-C615-B966560A9CC5}"/>
              </a:ext>
            </a:extLst>
          </p:cNvPr>
          <p:cNvSpPr/>
          <p:nvPr/>
        </p:nvSpPr>
        <p:spPr>
          <a:xfrm>
            <a:off x="3176081" y="1729088"/>
            <a:ext cx="437764" cy="43776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2</a:t>
            </a:r>
            <a:endParaRPr lang="en-IN" b="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1A12CCB-8520-0367-5416-B46E52C49B59}"/>
              </a:ext>
            </a:extLst>
          </p:cNvPr>
          <p:cNvCxnSpPr>
            <a:cxnSpLocks/>
          </p:cNvCxnSpPr>
          <p:nvPr/>
        </p:nvCxnSpPr>
        <p:spPr>
          <a:xfrm>
            <a:off x="2847846" y="1947970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49959D-D7B3-BB03-3C64-5F6568A6C7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64503" y="2664874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55003A8-DCEC-2CB3-2553-A86CAC4904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4503" y="3568123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3F714FC-413F-8B42-D800-F59E00D3D8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64503" y="4415616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5BE7DDA-1F8C-0536-9142-5BDE87E5EA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64503" y="5307714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D0BF28D-78F0-92FB-8571-934BB99FF62F}"/>
              </a:ext>
            </a:extLst>
          </p:cNvPr>
          <p:cNvSpPr/>
          <p:nvPr/>
        </p:nvSpPr>
        <p:spPr>
          <a:xfrm>
            <a:off x="7640431" y="860831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7</a:t>
            </a:r>
            <a:endParaRPr lang="en-IN" b="1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35D698C-DAF8-8476-9A9C-9A0215E5B6BB}"/>
              </a:ext>
            </a:extLst>
          </p:cNvPr>
          <p:cNvCxnSpPr>
            <a:cxnSpLocks/>
          </p:cNvCxnSpPr>
          <p:nvPr/>
        </p:nvCxnSpPr>
        <p:spPr>
          <a:xfrm>
            <a:off x="7312196" y="1079713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DC1AEEB-48A0-F7EE-2E8B-3349A3687AF5}"/>
              </a:ext>
            </a:extLst>
          </p:cNvPr>
          <p:cNvCxnSpPr>
            <a:cxnSpLocks/>
          </p:cNvCxnSpPr>
          <p:nvPr/>
        </p:nvCxnSpPr>
        <p:spPr>
          <a:xfrm>
            <a:off x="7312196" y="1513841"/>
            <a:ext cx="394106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9D7A3C0-E8DF-CC16-E2C6-CC936A2298D7}"/>
              </a:ext>
            </a:extLst>
          </p:cNvPr>
          <p:cNvCxnSpPr>
            <a:cxnSpLocks/>
          </p:cNvCxnSpPr>
          <p:nvPr/>
        </p:nvCxnSpPr>
        <p:spPr>
          <a:xfrm>
            <a:off x="7312196" y="2382098"/>
            <a:ext cx="394106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987DCBCD-E7C3-B222-AA29-254B2F690B5D}"/>
              </a:ext>
            </a:extLst>
          </p:cNvPr>
          <p:cNvSpPr/>
          <p:nvPr/>
        </p:nvSpPr>
        <p:spPr>
          <a:xfrm>
            <a:off x="7640431" y="2597345"/>
            <a:ext cx="437764" cy="43776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9</a:t>
            </a:r>
            <a:endParaRPr lang="en-IN" b="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DAF321-D4AD-D9BE-C567-5C2C0B94B752}"/>
              </a:ext>
            </a:extLst>
          </p:cNvPr>
          <p:cNvCxnSpPr>
            <a:cxnSpLocks/>
          </p:cNvCxnSpPr>
          <p:nvPr/>
        </p:nvCxnSpPr>
        <p:spPr>
          <a:xfrm>
            <a:off x="7312196" y="2816227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C25A454-0563-8231-0D5D-11A698C20BED}"/>
              </a:ext>
            </a:extLst>
          </p:cNvPr>
          <p:cNvCxnSpPr>
            <a:cxnSpLocks/>
          </p:cNvCxnSpPr>
          <p:nvPr/>
        </p:nvCxnSpPr>
        <p:spPr>
          <a:xfrm>
            <a:off x="7312196" y="3250355"/>
            <a:ext cx="394106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B273FF71-5674-187E-7292-D5D4D7307F78}"/>
              </a:ext>
            </a:extLst>
          </p:cNvPr>
          <p:cNvSpPr/>
          <p:nvPr/>
        </p:nvSpPr>
        <p:spPr>
          <a:xfrm>
            <a:off x="7640431" y="3465602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10</a:t>
            </a:r>
            <a:endParaRPr lang="en-IN" b="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F79E410-B9CE-962E-7F61-ED234FC89723}"/>
              </a:ext>
            </a:extLst>
          </p:cNvPr>
          <p:cNvCxnSpPr>
            <a:cxnSpLocks/>
          </p:cNvCxnSpPr>
          <p:nvPr/>
        </p:nvCxnSpPr>
        <p:spPr>
          <a:xfrm>
            <a:off x="7312196" y="3684484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75DB589-CAC6-88EC-AD0F-FDBA9F59F864}"/>
              </a:ext>
            </a:extLst>
          </p:cNvPr>
          <p:cNvCxnSpPr>
            <a:cxnSpLocks/>
          </p:cNvCxnSpPr>
          <p:nvPr/>
        </p:nvCxnSpPr>
        <p:spPr>
          <a:xfrm>
            <a:off x="7312196" y="4118612"/>
            <a:ext cx="39389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>
            <a:extLst>
              <a:ext uri="{FF2B5EF4-FFF2-40B4-BE49-F238E27FC236}">
                <a16:creationId xmlns:a16="http://schemas.microsoft.com/office/drawing/2014/main" id="{01C6DCC1-6FF4-A393-1068-6A1CB6D18952}"/>
              </a:ext>
            </a:extLst>
          </p:cNvPr>
          <p:cNvSpPr/>
          <p:nvPr/>
        </p:nvSpPr>
        <p:spPr>
          <a:xfrm>
            <a:off x="7640431" y="4333859"/>
            <a:ext cx="437764" cy="43776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11</a:t>
            </a:r>
            <a:endParaRPr lang="en-IN" b="1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E79FF9D-9C99-A83B-E4A9-F366CB51A266}"/>
              </a:ext>
            </a:extLst>
          </p:cNvPr>
          <p:cNvCxnSpPr>
            <a:cxnSpLocks/>
          </p:cNvCxnSpPr>
          <p:nvPr/>
        </p:nvCxnSpPr>
        <p:spPr>
          <a:xfrm>
            <a:off x="7312196" y="4552741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02099D7-1323-E5D9-E9F0-5A5F34AC02F4}"/>
              </a:ext>
            </a:extLst>
          </p:cNvPr>
          <p:cNvCxnSpPr>
            <a:cxnSpLocks/>
          </p:cNvCxnSpPr>
          <p:nvPr/>
        </p:nvCxnSpPr>
        <p:spPr>
          <a:xfrm>
            <a:off x="7312196" y="4986869"/>
            <a:ext cx="394106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595844CF-4601-A461-286E-0CF1F229043B}"/>
              </a:ext>
            </a:extLst>
          </p:cNvPr>
          <p:cNvSpPr/>
          <p:nvPr/>
        </p:nvSpPr>
        <p:spPr>
          <a:xfrm>
            <a:off x="7640431" y="5202118"/>
            <a:ext cx="437764" cy="43776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12</a:t>
            </a:r>
            <a:endParaRPr lang="en-IN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A7299DB-114B-206D-51EC-62A169CC19B0}"/>
              </a:ext>
            </a:extLst>
          </p:cNvPr>
          <p:cNvCxnSpPr>
            <a:cxnSpLocks/>
          </p:cNvCxnSpPr>
          <p:nvPr/>
        </p:nvCxnSpPr>
        <p:spPr>
          <a:xfrm>
            <a:off x="7312196" y="5421000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4F9BDE0D-7674-FB03-CAD8-F58F7336D9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8853" y="925283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DC6577AF-F99C-93B6-FC71-DF8A1D44EF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8853" y="1795079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C38FD12-1B3D-5270-2616-2296BF1F48C2}"/>
              </a:ext>
            </a:extLst>
          </p:cNvPr>
          <p:cNvSpPr/>
          <p:nvPr/>
        </p:nvSpPr>
        <p:spPr>
          <a:xfrm>
            <a:off x="7640431" y="1729088"/>
            <a:ext cx="437764" cy="43776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8</a:t>
            </a:r>
            <a:endParaRPr lang="en-IN" b="1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AD0E80B-D308-6CAA-2B68-184A897927F3}"/>
              </a:ext>
            </a:extLst>
          </p:cNvPr>
          <p:cNvCxnSpPr>
            <a:cxnSpLocks/>
          </p:cNvCxnSpPr>
          <p:nvPr/>
        </p:nvCxnSpPr>
        <p:spPr>
          <a:xfrm>
            <a:off x="7312196" y="1947970"/>
            <a:ext cx="32823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CCB198FE-9038-93C4-7BCB-B324C2E405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8853" y="2664874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464F6034-967E-80C2-8B9B-625E8E8D09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8853" y="3568123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F3FBDE8A-C46A-3C61-D520-0DD10366EC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8853" y="4415616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F4604368-08CF-F1BD-FED3-38B18B00E8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28853" y="5307714"/>
            <a:ext cx="3022244" cy="282211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0976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41FE6C0-D967-4A72-7606-1D2AB313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032475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1BF0BD0-D58F-FB68-5BEA-F987CFB09A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349" y="1222513"/>
            <a:ext cx="11032475" cy="4830417"/>
          </a:xfrm>
        </p:spPr>
        <p:txBody>
          <a:bodyPr/>
          <a:lstStyle>
            <a:lvl1pPr marL="342900" indent="-342900" algn="l" defTabSz="914363" rtl="0" eaLnBrk="1" latinLnBrk="0" hangingPunct="1">
              <a:spcBef>
                <a:spcPts val="600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24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spcBef>
                <a:spcPts val="600"/>
              </a:spcBef>
              <a:buClr>
                <a:schemeClr val="accent1"/>
              </a:buClr>
              <a:buSzPct val="80000"/>
              <a:defRPr sz="2000">
                <a:solidFill>
                  <a:schemeClr val="tx1"/>
                </a:solidFill>
                <a:latin typeface="+mj-lt"/>
              </a:defRPr>
            </a:lvl2pPr>
            <a:lvl3pPr>
              <a:spcBef>
                <a:spcPts val="600"/>
              </a:spcBef>
              <a:buClr>
                <a:schemeClr val="accent1"/>
              </a:buClr>
              <a:buSzPct val="80000"/>
              <a:defRPr sz="1600">
                <a:solidFill>
                  <a:schemeClr val="tx1"/>
                </a:solidFill>
                <a:latin typeface="+mj-lt"/>
              </a:defRPr>
            </a:lvl3pPr>
            <a:lvl4pPr>
              <a:spcBef>
                <a:spcPts val="600"/>
              </a:spcBef>
              <a:buClr>
                <a:schemeClr val="accent1"/>
              </a:buClr>
              <a:buSzPct val="80000"/>
              <a:defRPr sz="1200">
                <a:solidFill>
                  <a:schemeClr val="tx1"/>
                </a:solidFill>
                <a:latin typeface="+mj-lt"/>
              </a:defRPr>
            </a:lvl4pPr>
            <a:lvl5pPr>
              <a:spcBef>
                <a:spcPts val="600"/>
              </a:spcBef>
              <a:buClr>
                <a:schemeClr val="accent1"/>
              </a:buClr>
              <a:buSzPct val="80000"/>
              <a:defRPr sz="1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9184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4549DAC-F2BB-89BA-293A-3C7E4F121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349" y="1640290"/>
            <a:ext cx="11277601" cy="4525559"/>
          </a:xfrm>
        </p:spPr>
        <p:txBody>
          <a:bodyPr/>
          <a:lstStyle>
            <a:lvl1pPr>
              <a:spcBef>
                <a:spcPts val="600"/>
              </a:spcBef>
              <a:buClr>
                <a:schemeClr val="accent1"/>
              </a:buClr>
              <a:buSzPct val="80000"/>
              <a:defRPr sz="24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600"/>
              </a:spcBef>
              <a:buClr>
                <a:schemeClr val="accent1"/>
              </a:buClr>
              <a:buSzPct val="80000"/>
              <a:defRPr sz="2000">
                <a:solidFill>
                  <a:schemeClr val="tx1"/>
                </a:solidFill>
                <a:latin typeface="+mj-lt"/>
              </a:defRPr>
            </a:lvl2pPr>
            <a:lvl3pPr>
              <a:spcBef>
                <a:spcPts val="600"/>
              </a:spcBef>
              <a:buClr>
                <a:schemeClr val="accent1"/>
              </a:buClr>
              <a:buSzPct val="80000"/>
              <a:defRPr sz="1600">
                <a:solidFill>
                  <a:schemeClr val="tx1"/>
                </a:solidFill>
                <a:latin typeface="+mj-lt"/>
              </a:defRPr>
            </a:lvl3pPr>
            <a:lvl4pPr>
              <a:spcBef>
                <a:spcPts val="600"/>
              </a:spcBef>
              <a:buClr>
                <a:schemeClr val="accent1"/>
              </a:buClr>
              <a:buSzPct val="80000"/>
              <a:defRPr sz="1400">
                <a:solidFill>
                  <a:schemeClr val="tx1"/>
                </a:solidFill>
                <a:latin typeface="+mj-lt"/>
              </a:defRPr>
            </a:lvl4pPr>
            <a:lvl5pPr>
              <a:spcBef>
                <a:spcPts val="600"/>
              </a:spcBef>
              <a:buClr>
                <a:schemeClr val="accent1"/>
              </a:buClr>
              <a:buSzPct val="80000"/>
              <a:defRPr sz="12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3B07871-61F5-1E36-E68E-0972C4164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277601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17F4CBC-95E7-BA3A-93C6-B1E1008292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4349" y="1156177"/>
            <a:ext cx="11032475" cy="278847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IN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166997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3B07871-61F5-1E36-E68E-0972C4164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032475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CB6DD955-6830-0844-CDE0-C5E4F2CD69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4349" y="1156177"/>
            <a:ext cx="11032475" cy="278847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IN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928847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940E3-AD85-C4F1-C585-11206318E58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3B07871-61F5-1E36-E68E-0972C4164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032475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1DABAB-A29B-D331-A80B-55C497A0B6D2}"/>
              </a:ext>
            </a:extLst>
          </p:cNvPr>
          <p:cNvSpPr txBox="1"/>
          <p:nvPr userDrawn="1"/>
        </p:nvSpPr>
        <p:spPr>
          <a:xfrm>
            <a:off x="897924" y="6503238"/>
            <a:ext cx="275143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17EF4CE4-A8A3-481A-B296-A2596A7C05E0}" type="datetime1">
              <a:rPr lang="en-US" sz="7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/25/2026</a:t>
            </a:fld>
            <a:endParaRPr lang="en-US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22FB216-1ABD-B1B7-23F5-198C00C9E9F1}"/>
              </a:ext>
            </a:extLst>
          </p:cNvPr>
          <p:cNvCxnSpPr>
            <a:cxnSpLocks/>
          </p:cNvCxnSpPr>
          <p:nvPr userDrawn="1"/>
        </p:nvCxnSpPr>
        <p:spPr>
          <a:xfrm>
            <a:off x="670844" y="6378118"/>
            <a:ext cx="1111794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7A10232C-63A4-E101-A1D3-1D4966B21FDA}"/>
              </a:ext>
            </a:extLst>
          </p:cNvPr>
          <p:cNvSpPr/>
          <p:nvPr userDrawn="1"/>
        </p:nvSpPr>
        <p:spPr>
          <a:xfrm>
            <a:off x="403214" y="6228730"/>
            <a:ext cx="356713" cy="629269"/>
          </a:xfrm>
          <a:prstGeom prst="rect">
            <a:avLst/>
          </a:prstGeom>
          <a:solidFill>
            <a:srgbClr val="C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B7AF60-C74F-F2E7-9CE3-143D3E944819}"/>
              </a:ext>
            </a:extLst>
          </p:cNvPr>
          <p:cNvSpPr txBox="1"/>
          <p:nvPr userDrawn="1"/>
        </p:nvSpPr>
        <p:spPr>
          <a:xfrm>
            <a:off x="10556224" y="6495000"/>
            <a:ext cx="99060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700"/>
              <a:t>© 2025 Birlasof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5A82CDB-C4A2-97AF-49C7-65EDFF84B07C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653129" y="6329897"/>
            <a:ext cx="398395" cy="9644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19D3843-A1BB-658E-C0EE-1D8C2DE1B429}"/>
              </a:ext>
            </a:extLst>
          </p:cNvPr>
          <p:cNvSpPr txBox="1"/>
          <p:nvPr userDrawn="1"/>
        </p:nvSpPr>
        <p:spPr>
          <a:xfrm>
            <a:off x="409546" y="6495000"/>
            <a:ext cx="3503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FF1AC436-1104-41D8-9946-415B951CA9AA}" type="slidenum">
              <a:rPr lang="en-US" sz="900" smtClean="0">
                <a:solidFill>
                  <a:schemeClr val="bg1"/>
                </a:solidFill>
              </a:rPr>
              <a:pPr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50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3B07871-61F5-1E36-E68E-0972C4164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163303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dd your title</a:t>
            </a:r>
            <a:endParaRPr lang="en-IN"/>
          </a:p>
        </p:txBody>
      </p:sp>
      <p:sp>
        <p:nvSpPr>
          <p:cNvPr id="2" name="Chart Placeholder 5">
            <a:extLst>
              <a:ext uri="{FF2B5EF4-FFF2-40B4-BE49-F238E27FC236}">
                <a16:creationId xmlns:a16="http://schemas.microsoft.com/office/drawing/2014/main" id="{01579C3F-8543-CC53-BD02-B703426CB632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14349" y="1232451"/>
            <a:ext cx="4703618" cy="49333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IN"/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8B1F4260-3E18-6064-DC9B-44F237011E1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6514" y="1232451"/>
            <a:ext cx="6561138" cy="4933399"/>
          </a:xfrm>
        </p:spPr>
        <p:txBody>
          <a:bodyPr/>
          <a:lstStyle>
            <a:lvl1pPr>
              <a:spcBef>
                <a:spcPts val="600"/>
              </a:spcBef>
              <a:buClr>
                <a:schemeClr val="accent1"/>
              </a:buClr>
              <a:buSzPct val="80000"/>
              <a:defRPr sz="2400">
                <a:solidFill>
                  <a:schemeClr val="tx2"/>
                </a:solidFill>
                <a:latin typeface="+mj-lt"/>
              </a:defRPr>
            </a:lvl1pPr>
            <a:lvl2pPr>
              <a:spcBef>
                <a:spcPts val="600"/>
              </a:spcBef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2pPr>
            <a:lvl3pPr>
              <a:spcBef>
                <a:spcPts val="600"/>
              </a:spcBef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spcBef>
                <a:spcPts val="600"/>
              </a:spcBef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spcBef>
                <a:spcPts val="600"/>
              </a:spcBef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0079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3B07871-61F5-1E36-E68E-0972C4164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163303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dd your title</a:t>
            </a:r>
            <a:endParaRPr lang="en-IN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4B3289CB-6373-1C4A-DF5D-3257EF0F73CC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514349" y="1242391"/>
            <a:ext cx="4876802" cy="49234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IN"/>
              <a:t>Graph</a:t>
            </a:r>
          </a:p>
        </p:txBody>
      </p:sp>
      <p:sp>
        <p:nvSpPr>
          <p:cNvPr id="5" name="Chart Placeholder 6">
            <a:extLst>
              <a:ext uri="{FF2B5EF4-FFF2-40B4-BE49-F238E27FC236}">
                <a16:creationId xmlns:a16="http://schemas.microsoft.com/office/drawing/2014/main" id="{72FAE434-A199-2DF9-C6AB-8FE9DE2A232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562601" y="1242391"/>
            <a:ext cx="6115052" cy="49234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78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9F4B060-F878-E99A-C156-A50536DB9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032475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46314C2-9901-F475-9DBC-A835E994A0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4349" y="1640290"/>
            <a:ext cx="3430634" cy="4525559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E6C00F7-E3E7-01A7-E71F-8517059EC9C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315640" y="1640290"/>
            <a:ext cx="3430634" cy="4525559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5893385-C496-F7B8-448E-64C88182FEF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6932" y="1640290"/>
            <a:ext cx="3430634" cy="4525559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08DD398-EBD0-A8B2-5041-8C47AB289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4349" y="1156177"/>
            <a:ext cx="11032475" cy="278847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IN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026812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9F4B060-F878-E99A-C156-A50536DB9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912" y="2476297"/>
            <a:ext cx="3888686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46314C2-9901-F475-9DBC-A835E994A0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32393" y="597802"/>
            <a:ext cx="5846695" cy="1598514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08DD398-EBD0-A8B2-5041-8C47AB289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912" y="3289576"/>
            <a:ext cx="3888686" cy="278847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IN"/>
              <a:t>Subtit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AA3B5B7-778A-604F-2611-3E9EF4438C77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732393" y="2476297"/>
            <a:ext cx="5846695" cy="1598514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FAC0931-85DD-6C0A-689B-587E5F95544B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5732393" y="4354793"/>
            <a:ext cx="5846695" cy="1598514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191CCCA-2EF4-2963-E513-3E2888162E46}"/>
              </a:ext>
            </a:extLst>
          </p:cNvPr>
          <p:cNvSpPr/>
          <p:nvPr/>
        </p:nvSpPr>
        <p:spPr>
          <a:xfrm>
            <a:off x="5125830" y="597800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1</a:t>
            </a:r>
            <a:endParaRPr lang="en-IN" b="1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E17A07A-402E-11C6-8411-FCA3436488DE}"/>
              </a:ext>
            </a:extLst>
          </p:cNvPr>
          <p:cNvSpPr/>
          <p:nvPr/>
        </p:nvSpPr>
        <p:spPr>
          <a:xfrm>
            <a:off x="5125830" y="4354793"/>
            <a:ext cx="437764" cy="43776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3</a:t>
            </a:r>
            <a:endParaRPr lang="en-IN" b="1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B6AD77E-996E-867B-CAB3-824A91B14A04}"/>
              </a:ext>
            </a:extLst>
          </p:cNvPr>
          <p:cNvSpPr/>
          <p:nvPr/>
        </p:nvSpPr>
        <p:spPr>
          <a:xfrm>
            <a:off x="5125830" y="2446247"/>
            <a:ext cx="437764" cy="43776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2</a:t>
            </a:r>
            <a:endParaRPr lang="en-IN" b="1"/>
          </a:p>
        </p:txBody>
      </p:sp>
    </p:spTree>
    <p:extLst>
      <p:ext uri="{BB962C8B-B14F-4D97-AF65-F5344CB8AC3E}">
        <p14:creationId xmlns:p14="http://schemas.microsoft.com/office/powerpoint/2010/main" val="2249753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A44BE7CC-2C59-D673-1BC8-A9724D545C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7999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7243666-3796-5620-397A-B96089739744}"/>
              </a:ext>
            </a:extLst>
          </p:cNvPr>
          <p:cNvCxnSpPr>
            <a:cxnSpLocks/>
          </p:cNvCxnSpPr>
          <p:nvPr/>
        </p:nvCxnSpPr>
        <p:spPr>
          <a:xfrm>
            <a:off x="670844" y="6378118"/>
            <a:ext cx="1111794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A1B325-B287-FF63-9A0D-B25039FF7115}"/>
              </a:ext>
            </a:extLst>
          </p:cNvPr>
          <p:cNvSpPr txBox="1">
            <a:spLocks/>
          </p:cNvSpPr>
          <p:nvPr/>
        </p:nvSpPr>
        <p:spPr>
          <a:xfrm>
            <a:off x="964395" y="6469640"/>
            <a:ext cx="695326" cy="2326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EF598-DD41-4849-8A14-1B5F91BEB9F1}" type="datetime1">
              <a:rPr lang="en-US" smtClean="0"/>
              <a:pPr/>
              <a:t>5/25/2026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20CC12-342D-8E04-0328-6C51AEB41E35}"/>
              </a:ext>
            </a:extLst>
          </p:cNvPr>
          <p:cNvSpPr/>
          <p:nvPr/>
        </p:nvSpPr>
        <p:spPr>
          <a:xfrm>
            <a:off x="403214" y="6228730"/>
            <a:ext cx="356713" cy="629269"/>
          </a:xfrm>
          <a:prstGeom prst="rect">
            <a:avLst/>
          </a:prstGeom>
          <a:solidFill>
            <a:srgbClr val="C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B2CCC6-6970-10FC-9A5C-614AF849F5D4}"/>
              </a:ext>
            </a:extLst>
          </p:cNvPr>
          <p:cNvSpPr txBox="1">
            <a:spLocks/>
          </p:cNvSpPr>
          <p:nvPr/>
        </p:nvSpPr>
        <p:spPr>
          <a:xfrm>
            <a:off x="403214" y="6461803"/>
            <a:ext cx="356713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C1CC88B-8153-4770-B0DF-840C5C37FBC3}" type="slidenum">
              <a:rPr lang="en-IN" sz="900" smtClean="0">
                <a:solidFill>
                  <a:schemeClr val="bg1"/>
                </a:solidFill>
              </a:rPr>
              <a:pPr algn="ctr"/>
              <a:t>‹#›</a:t>
            </a:fld>
            <a:endParaRPr lang="en-IN" sz="900">
              <a:solidFill>
                <a:schemeClr val="bg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FD054E2-35B3-80B6-4CB3-C5BEE89E7809}"/>
              </a:ext>
            </a:extLst>
          </p:cNvPr>
          <p:cNvSpPr txBox="1">
            <a:spLocks/>
          </p:cNvSpPr>
          <p:nvPr/>
        </p:nvSpPr>
        <p:spPr>
          <a:xfrm>
            <a:off x="10556224" y="6484983"/>
            <a:ext cx="1000718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8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© 2023 Birlasoft</a:t>
            </a:r>
          </a:p>
        </p:txBody>
      </p:sp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4EC4011E-E75F-31FE-3442-1F61CE7FD31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127538">
            <a:off x="10825146" y="6187013"/>
            <a:ext cx="462875" cy="429841"/>
          </a:xfrm>
          <a:prstGeom prst="rect">
            <a:avLst/>
          </a:prstGeom>
          <a:effectLst>
            <a:outerShdw blurRad="558800" dist="241300" dir="6000000" sx="97000" sy="97000" algn="ctr" rotWithShape="0">
              <a:srgbClr val="000000">
                <a:alpha val="73000"/>
              </a:srgbClr>
            </a:outerShdw>
          </a:effectLst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CD8DF584-516F-EE7B-9ACC-49448AB86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709" y="161700"/>
            <a:ext cx="11359107" cy="505732"/>
          </a:xfrm>
          <a:prstGeom prst="rect">
            <a:avLst/>
          </a:prstGeom>
        </p:spPr>
        <p:txBody>
          <a:bodyPr lIns="90000" rIns="90000" anchor="b"/>
          <a:lstStyle>
            <a:lvl1pPr algn="l">
              <a:defRPr sz="2800" b="1">
                <a:solidFill>
                  <a:schemeClr val="tx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6448F4D-D847-1EA7-2B13-1F90153E60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1709" y="751116"/>
            <a:ext cx="11359107" cy="425450"/>
          </a:xfrm>
          <a:prstGeom prst="rect">
            <a:avLst/>
          </a:prstGeom>
        </p:spPr>
        <p:txBody>
          <a:bodyPr lIns="90000" rIns="9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dirty="0" smtClean="0">
                <a:solidFill>
                  <a:schemeClr val="tx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18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8755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pos="7423">
          <p15:clr>
            <a:srgbClr val="FBAE40"/>
          </p15:clr>
        </p15:guide>
        <p15:guide id="5" orient="horz" pos="731">
          <p15:clr>
            <a:srgbClr val="FBAE40"/>
          </p15:clr>
        </p15:guide>
        <p15:guide id="6" orient="horz" pos="1094">
          <p15:clr>
            <a:srgbClr val="FBAE40"/>
          </p15:clr>
        </p15:guide>
        <p15:guide id="7" orient="horz" pos="383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46314C2-9901-F475-9DBC-A835E994A0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77308" y="1809825"/>
            <a:ext cx="4866901" cy="1961184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AA3B5B7-778A-604F-2611-3E9EF4438C77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77308" y="3967167"/>
            <a:ext cx="4866901" cy="1961184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B58EE77-04FB-377E-8DB5-D405C6E77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032475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14664F5-6F77-9869-CC2D-7E2AD6D8BE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4349" y="1156177"/>
            <a:ext cx="11032475" cy="278847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IN"/>
              <a:t>Subtitl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65ECE44-9981-52CD-84AB-67C4CF5A4779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682368" y="1809825"/>
            <a:ext cx="4866901" cy="1961184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AD03FF3-C8EE-4032-5F7E-5D45E9A8FD98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682368" y="3967167"/>
            <a:ext cx="4866901" cy="1961184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32BFB9D-C281-631D-1F33-64337E2CD66D}"/>
              </a:ext>
            </a:extLst>
          </p:cNvPr>
          <p:cNvSpPr/>
          <p:nvPr/>
        </p:nvSpPr>
        <p:spPr>
          <a:xfrm>
            <a:off x="423849" y="1779218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1</a:t>
            </a:r>
            <a:endParaRPr lang="en-IN" b="1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FECAFC8-38F6-63B6-FC8C-DD707548DC29}"/>
              </a:ext>
            </a:extLst>
          </p:cNvPr>
          <p:cNvSpPr/>
          <p:nvPr/>
        </p:nvSpPr>
        <p:spPr>
          <a:xfrm>
            <a:off x="423849" y="3967167"/>
            <a:ext cx="437764" cy="43776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3</a:t>
            </a:r>
            <a:endParaRPr lang="en-IN" b="1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2DCAF41-9050-E935-E5D1-86147955477F}"/>
              </a:ext>
            </a:extLst>
          </p:cNvPr>
          <p:cNvSpPr/>
          <p:nvPr/>
        </p:nvSpPr>
        <p:spPr>
          <a:xfrm>
            <a:off x="6128911" y="3967166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4</a:t>
            </a:r>
            <a:endParaRPr lang="en-IN" b="1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C082C82-21A5-6BAD-C61F-6120CD373C11}"/>
              </a:ext>
            </a:extLst>
          </p:cNvPr>
          <p:cNvSpPr/>
          <p:nvPr/>
        </p:nvSpPr>
        <p:spPr>
          <a:xfrm>
            <a:off x="6128911" y="1729088"/>
            <a:ext cx="437764" cy="43776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2</a:t>
            </a:r>
            <a:endParaRPr lang="en-IN" b="1"/>
          </a:p>
        </p:txBody>
      </p:sp>
    </p:spTree>
    <p:extLst>
      <p:ext uri="{BB962C8B-B14F-4D97-AF65-F5344CB8AC3E}">
        <p14:creationId xmlns:p14="http://schemas.microsoft.com/office/powerpoint/2010/main" val="273748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B58EE77-04FB-377E-8DB5-D405C6E77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032475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B17A4D-6A09-2851-83E2-83840ED4B7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4349" y="1161077"/>
            <a:ext cx="2040008" cy="5773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b="1" dirty="0">
                <a:solidFill>
                  <a:schemeClr val="accent1"/>
                </a:solidFill>
              </a:defRPr>
            </a:lvl1pPr>
            <a:lvl2pPr marL="190412" indent="0">
              <a:buNone/>
              <a:defRPr sz="1575"/>
            </a:lvl2pPr>
            <a:lvl3pPr marL="380825" indent="0">
              <a:buNone/>
              <a:defRPr sz="1575"/>
            </a:lvl3pPr>
            <a:lvl4pPr marL="571237" indent="0">
              <a:buNone/>
              <a:defRPr sz="1575"/>
            </a:lvl4pPr>
            <a:lvl5pPr marL="761649" indent="0">
              <a:buNone/>
              <a:defRPr sz="1575"/>
            </a:lvl5pPr>
          </a:lstStyle>
          <a:p>
            <a:pPr lvl="0"/>
            <a:r>
              <a:rPr lang="en-US"/>
              <a:t>Header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C51D7C2-E405-B6F8-15CC-4F46526C393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4349" y="1876091"/>
            <a:ext cx="2040008" cy="4156962"/>
          </a:xfrm>
        </p:spPr>
        <p:txBody>
          <a:bodyPr>
            <a:normAutofit/>
          </a:bodyPr>
          <a:lstStyle>
            <a:lvl1pPr marL="0" indent="0">
              <a:buNone/>
              <a:def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72CAECC-7220-48F3-C541-2699A45ADE0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750653" y="1161077"/>
            <a:ext cx="2040008" cy="5773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b="1" dirty="0">
                <a:solidFill>
                  <a:schemeClr val="accent1"/>
                </a:solidFill>
              </a:defRPr>
            </a:lvl1pPr>
            <a:lvl2pPr marL="190412" indent="0">
              <a:buNone/>
              <a:defRPr sz="1575"/>
            </a:lvl2pPr>
            <a:lvl3pPr marL="380825" indent="0">
              <a:buNone/>
              <a:defRPr sz="1575"/>
            </a:lvl3pPr>
            <a:lvl4pPr marL="571237" indent="0">
              <a:buNone/>
              <a:defRPr sz="1575"/>
            </a:lvl4pPr>
            <a:lvl5pPr marL="761649" indent="0">
              <a:buNone/>
              <a:defRPr sz="1575"/>
            </a:lvl5pPr>
          </a:lstStyle>
          <a:p>
            <a:pPr lvl="0"/>
            <a:r>
              <a:rPr lang="en-US"/>
              <a:t>Header Goes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21B6310-4FCF-C2FD-4B39-A7774BB3B7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750653" y="1876091"/>
            <a:ext cx="2040008" cy="4156962"/>
          </a:xfrm>
        </p:spPr>
        <p:txBody>
          <a:bodyPr>
            <a:normAutofit/>
          </a:bodyPr>
          <a:lstStyle>
            <a:lvl1pPr marL="0" indent="0">
              <a:buNone/>
              <a:def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82AE0BA-6682-F1A7-FD7A-E70768960BB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77019" y="1161077"/>
            <a:ext cx="2040008" cy="5773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b="1" dirty="0">
                <a:solidFill>
                  <a:schemeClr val="accent1"/>
                </a:solidFill>
              </a:defRPr>
            </a:lvl1pPr>
            <a:lvl2pPr marL="190412" indent="0">
              <a:buNone/>
              <a:defRPr sz="1575"/>
            </a:lvl2pPr>
            <a:lvl3pPr marL="380825" indent="0">
              <a:buNone/>
              <a:defRPr sz="1575"/>
            </a:lvl3pPr>
            <a:lvl4pPr marL="571237" indent="0">
              <a:buNone/>
              <a:defRPr sz="1575"/>
            </a:lvl4pPr>
            <a:lvl5pPr marL="761649" indent="0">
              <a:buNone/>
              <a:defRPr sz="1575"/>
            </a:lvl5pPr>
          </a:lstStyle>
          <a:p>
            <a:pPr lvl="0"/>
            <a:r>
              <a:rPr lang="en-US"/>
              <a:t>Header Goes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00B9F41-7AFC-0775-85E6-9B6462AA2C8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977019" y="1876091"/>
            <a:ext cx="2040008" cy="4156962"/>
          </a:xfrm>
        </p:spPr>
        <p:txBody>
          <a:bodyPr>
            <a:normAutofit/>
          </a:bodyPr>
          <a:lstStyle>
            <a:lvl1pPr marL="0" indent="0">
              <a:buNone/>
              <a:def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AEB6664-2584-B597-DF4D-008C9227BBF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13323" y="1161077"/>
            <a:ext cx="2040008" cy="5773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b="1" dirty="0">
                <a:solidFill>
                  <a:schemeClr val="accent1"/>
                </a:solidFill>
              </a:defRPr>
            </a:lvl1pPr>
            <a:lvl2pPr marL="190412" indent="0">
              <a:buNone/>
              <a:defRPr sz="1575"/>
            </a:lvl2pPr>
            <a:lvl3pPr marL="380825" indent="0">
              <a:buNone/>
              <a:defRPr sz="1575"/>
            </a:lvl3pPr>
            <a:lvl4pPr marL="571237" indent="0">
              <a:buNone/>
              <a:defRPr sz="1575"/>
            </a:lvl4pPr>
            <a:lvl5pPr marL="761649" indent="0">
              <a:buNone/>
              <a:defRPr sz="1575"/>
            </a:lvl5pPr>
          </a:lstStyle>
          <a:p>
            <a:pPr lvl="0"/>
            <a:r>
              <a:rPr lang="en-US"/>
              <a:t>Header Goes Her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E45251F-DFA1-D1E7-3BE0-2F6A0307567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213323" y="1876091"/>
            <a:ext cx="2040008" cy="4156962"/>
          </a:xfrm>
        </p:spPr>
        <p:txBody>
          <a:bodyPr>
            <a:normAutofit/>
          </a:bodyPr>
          <a:lstStyle>
            <a:lvl1pPr marL="0" indent="0">
              <a:buNone/>
              <a:def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720F067-191C-F00E-6043-DABC714A75A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439688" y="1161077"/>
            <a:ext cx="2040008" cy="5773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b="1" dirty="0">
                <a:solidFill>
                  <a:schemeClr val="accent1"/>
                </a:solidFill>
              </a:defRPr>
            </a:lvl1pPr>
            <a:lvl2pPr marL="190412" indent="0">
              <a:buNone/>
              <a:defRPr sz="1575"/>
            </a:lvl2pPr>
            <a:lvl3pPr marL="380825" indent="0">
              <a:buNone/>
              <a:defRPr sz="1575"/>
            </a:lvl3pPr>
            <a:lvl4pPr marL="571237" indent="0">
              <a:buNone/>
              <a:defRPr sz="1575"/>
            </a:lvl4pPr>
            <a:lvl5pPr marL="761649" indent="0">
              <a:buNone/>
              <a:defRPr sz="1575"/>
            </a:lvl5pPr>
          </a:lstStyle>
          <a:p>
            <a:pPr lvl="0"/>
            <a:r>
              <a:rPr lang="en-US"/>
              <a:t>Header Goes Her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DFC8997-1235-BE20-4DCD-9C1663343CE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39688" y="1876091"/>
            <a:ext cx="2040008" cy="4156962"/>
          </a:xfrm>
        </p:spPr>
        <p:txBody>
          <a:bodyPr>
            <a:normAutofit/>
          </a:bodyPr>
          <a:lstStyle>
            <a:lvl1pPr marL="0" indent="0">
              <a:buNone/>
              <a:def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184699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806664E-F7CE-357A-007F-234BE2F9F8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5" y="654505"/>
            <a:ext cx="11068050" cy="249555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5C16EEE-D8B3-9418-0DAE-DE2C1BDA63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68049"/>
            <a:ext cx="9177020" cy="612776"/>
          </a:xfrm>
        </p:spPr>
        <p:txBody>
          <a:bodyPr anchor="ctr">
            <a:normAutofit/>
          </a:bodyPr>
          <a:lstStyle>
            <a:lvl1pPr marL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Slide Title in Calibri Bold, 32 pt. dark grey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96A1C7B-1733-150D-E36A-84624BB90B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660362"/>
            <a:ext cx="9177020" cy="421331"/>
          </a:xfrm>
        </p:spPr>
        <p:txBody>
          <a:bodyPr anchor="t">
            <a:norm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lang="en-US" sz="2000" b="1" kern="1200" dirty="0">
                <a:solidFill>
                  <a:srgbClr val="FF0000"/>
                </a:solidFill>
                <a:latin typeface="+mj-lt"/>
                <a:ea typeface="+mn-ea"/>
                <a:cs typeface="+mn-cs"/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Subtitle (20pt)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9760D04-A17D-3135-462C-3BA35C4A59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3" y="5261230"/>
            <a:ext cx="9177019" cy="612776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pPr marL="0" indent="0">
              <a:buNone/>
            </a:pPr>
            <a:r>
              <a:rPr lang="en-US"/>
              <a:t>These are the optional slides and these can be used to break the monotony, in case it is needed then the images can be changed.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142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806664E-F7CE-357A-007F-234BE2F9F8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212697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47D402-BFB8-C66A-2320-C8467528C3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95880" y="2586335"/>
            <a:ext cx="4866901" cy="1532930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0C73137-EF52-8F9D-6355-784D2FB66422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700940" y="2586335"/>
            <a:ext cx="4866901" cy="1532930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34D73F4-AC1C-FBE7-9D88-F87E12737936}"/>
              </a:ext>
            </a:extLst>
          </p:cNvPr>
          <p:cNvSpPr/>
          <p:nvPr/>
        </p:nvSpPr>
        <p:spPr>
          <a:xfrm>
            <a:off x="442421" y="2555728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1</a:t>
            </a:r>
            <a:endParaRPr lang="en-IN" b="1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7654EAA-8F38-A5A3-910E-EE3609E6D09C}"/>
              </a:ext>
            </a:extLst>
          </p:cNvPr>
          <p:cNvSpPr/>
          <p:nvPr/>
        </p:nvSpPr>
        <p:spPr>
          <a:xfrm>
            <a:off x="442421" y="4467436"/>
            <a:ext cx="437764" cy="43776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3</a:t>
            </a:r>
            <a:endParaRPr lang="en-IN" b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79843FE-E44A-110B-95E1-46F37AC7740D}"/>
              </a:ext>
            </a:extLst>
          </p:cNvPr>
          <p:cNvSpPr/>
          <p:nvPr/>
        </p:nvSpPr>
        <p:spPr>
          <a:xfrm>
            <a:off x="6147483" y="4467435"/>
            <a:ext cx="437764" cy="43776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4</a:t>
            </a:r>
            <a:endParaRPr lang="en-IN" b="1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2312551-C108-87DE-EA7B-9065183C18F0}"/>
              </a:ext>
            </a:extLst>
          </p:cNvPr>
          <p:cNvSpPr/>
          <p:nvPr/>
        </p:nvSpPr>
        <p:spPr>
          <a:xfrm>
            <a:off x="6147483" y="2505598"/>
            <a:ext cx="437764" cy="43776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304800" dist="152400" dir="8460000" sx="92000" sy="92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400"/>
              </a:spcBef>
            </a:pPr>
            <a:r>
              <a:rPr lang="en-US" b="1"/>
              <a:t>02</a:t>
            </a:r>
            <a:endParaRPr lang="en-IN" b="1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E7894C49-905B-F8BC-2A30-777C4AA33A2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95880" y="4427129"/>
            <a:ext cx="4866901" cy="1532930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474724A-4F33-DD2D-D63D-91960B0FA8A9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700940" y="4427129"/>
            <a:ext cx="4866901" cy="1532930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buSzPct val="80000"/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buSzPct val="80000"/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buSzPct val="80000"/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9672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5C16EEE-D8B3-9418-0DAE-DE2C1BDA63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0172" y="2287449"/>
            <a:ext cx="2559194" cy="1749701"/>
          </a:xfrm>
        </p:spPr>
        <p:txBody>
          <a:bodyPr anchor="ctr">
            <a:normAutofit/>
          </a:bodyPr>
          <a:lstStyle>
            <a:lvl1pPr marL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 Goes Her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E33DEC0-8EDB-0BB6-A76F-1AFE73AB55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82886" y="-2"/>
            <a:ext cx="3382618" cy="6251715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436E3F53-21C5-4526-A869-F55AABA57D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79024" y="1019175"/>
            <a:ext cx="3382618" cy="800100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9AB20F1A-ED69-7E5E-43C6-774B3FC8AD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79024" y="2795588"/>
            <a:ext cx="3382618" cy="800100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E7659C1-B1B7-22A4-8DF8-C384C4FF92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79024" y="4572000"/>
            <a:ext cx="3382618" cy="800100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855549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806664E-F7CE-357A-007F-234BE2F9F8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90903" y="1335625"/>
            <a:ext cx="6601097" cy="394362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5C16EEE-D8B3-9418-0DAE-DE2C1BDA63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514600"/>
            <a:ext cx="4310289" cy="792836"/>
          </a:xfrm>
        </p:spPr>
        <p:txBody>
          <a:bodyPr anchor="ctr">
            <a:normAutofit/>
          </a:bodyPr>
          <a:lstStyle>
            <a:lvl1pPr marL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Slide Title in Calibri Bold, 32 pt. dark grey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96A1C7B-1733-150D-E36A-84624BB90B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3486973"/>
            <a:ext cx="4310289" cy="506724"/>
          </a:xfrm>
        </p:spPr>
        <p:txBody>
          <a:bodyPr anchor="t">
            <a:norm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lang="en-US" sz="2000" b="1" kern="1200" dirty="0">
                <a:solidFill>
                  <a:srgbClr val="FF0000"/>
                </a:solidFill>
                <a:latin typeface="+mj-lt"/>
                <a:ea typeface="+mn-ea"/>
                <a:cs typeface="+mn-cs"/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Subtitle (20pt)</a:t>
            </a:r>
          </a:p>
        </p:txBody>
      </p:sp>
    </p:spTree>
    <p:extLst>
      <p:ext uri="{BB962C8B-B14F-4D97-AF65-F5344CB8AC3E}">
        <p14:creationId xmlns:p14="http://schemas.microsoft.com/office/powerpoint/2010/main" val="1293441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37CFCFA6-B37A-C263-E187-B4D7E16801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89327" y="3285307"/>
            <a:ext cx="2690813" cy="2674937"/>
          </a:xfrm>
          <a:solidFill>
            <a:schemeClr val="accent3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156ABBA-1C76-0A76-54F7-07D7A0A021D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91516" y="604009"/>
            <a:ext cx="2689390" cy="268130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465D7B7-92CC-7231-7B65-3B90741EEA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7138" y="607195"/>
            <a:ext cx="2690813" cy="2674937"/>
          </a:xfr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5C16EEE-D8B3-9418-0DAE-DE2C1BDA63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84928" y="3749092"/>
            <a:ext cx="4310289" cy="612776"/>
          </a:xfrm>
        </p:spPr>
        <p:txBody>
          <a:bodyPr anchor="ctr">
            <a:noAutofit/>
          </a:bodyPr>
          <a:lstStyle>
            <a:lvl1pPr marL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Slide Title in Calibri Bold, 32 pt. dark grey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96A1C7B-1733-150D-E36A-84624BB90B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84927" y="4541405"/>
            <a:ext cx="4310289" cy="506724"/>
          </a:xfrm>
        </p:spPr>
        <p:txBody>
          <a:bodyPr anchor="t">
            <a:norm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lang="en-US" sz="1800" b="1" kern="1200" dirty="0">
                <a:solidFill>
                  <a:srgbClr val="FF0000"/>
                </a:solidFill>
                <a:latin typeface="+mj-lt"/>
                <a:ea typeface="+mn-ea"/>
                <a:cs typeface="+mn-cs"/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Subtitle (20pt)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CA19BFB-5112-AFC4-F6F1-ABC7FBA7BC7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777951" y="604009"/>
            <a:ext cx="2689390" cy="26749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54463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 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156ABBA-1C76-0A76-54F7-07D7A0A021D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23721" y="1221395"/>
            <a:ext cx="2090547" cy="474901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5C16EEE-D8B3-9418-0DAE-DE2C1BDA63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06996" y="2594155"/>
            <a:ext cx="4310289" cy="612776"/>
          </a:xfrm>
        </p:spPr>
        <p:txBody>
          <a:bodyPr anchor="ctr">
            <a:noAutofit/>
          </a:bodyPr>
          <a:lstStyle>
            <a:lvl1pPr marL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Slide Title in Calibri Bold, 32 pt. dark grey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96A1C7B-1733-150D-E36A-84624BB90B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06995" y="3386468"/>
            <a:ext cx="4310289" cy="506724"/>
          </a:xfrm>
        </p:spPr>
        <p:txBody>
          <a:bodyPr anchor="t">
            <a:norm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lang="en-US" sz="1800" b="1" kern="1200" dirty="0">
                <a:solidFill>
                  <a:srgbClr val="FF0000"/>
                </a:solidFill>
                <a:latin typeface="+mj-lt"/>
                <a:ea typeface="+mn-ea"/>
                <a:cs typeface="+mn-cs"/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Subtitle (20pt)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C3B48F34-CAF9-7226-55F0-FA2273BDC0D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13864" y="664877"/>
            <a:ext cx="2090547" cy="474901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930BA3-EF4A-7073-37F1-1308015DDE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664877"/>
            <a:ext cx="1324124" cy="4749013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03931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 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B58EE77-04FB-377E-8DB5-D405C6E77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349" y="342898"/>
            <a:ext cx="11032475" cy="608012"/>
          </a:xfrm>
        </p:spPr>
        <p:txBody>
          <a:bodyPr>
            <a:norm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3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B17A4D-6A09-2851-83E2-83840ED4B7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4348" y="2957437"/>
            <a:ext cx="2527025" cy="32750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b="1" dirty="0">
                <a:solidFill>
                  <a:schemeClr val="accent1"/>
                </a:solidFill>
              </a:defRPr>
            </a:lvl1pPr>
            <a:lvl2pPr marL="190412" indent="0">
              <a:buNone/>
              <a:defRPr sz="1575"/>
            </a:lvl2pPr>
            <a:lvl3pPr marL="380825" indent="0">
              <a:buNone/>
              <a:defRPr sz="1575"/>
            </a:lvl3pPr>
            <a:lvl4pPr marL="571237" indent="0">
              <a:buNone/>
              <a:defRPr sz="1575"/>
            </a:lvl4pPr>
            <a:lvl5pPr marL="761649" indent="0">
              <a:buNone/>
              <a:defRPr sz="1575"/>
            </a:lvl5pPr>
          </a:lstStyle>
          <a:p>
            <a:pPr lvl="0"/>
            <a:r>
              <a:rPr lang="en-US"/>
              <a:t>Header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C51D7C2-E405-B6F8-15CC-4F46526C393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4348" y="3423974"/>
            <a:ext cx="2527025" cy="2522952"/>
          </a:xfrm>
        </p:spPr>
        <p:txBody>
          <a:bodyPr>
            <a:normAutofit/>
          </a:bodyPr>
          <a:lstStyle>
            <a:lvl1pPr marL="0" indent="0">
              <a:buNone/>
              <a:def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A871834-4113-AD4D-BB92-5850D50E9B0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14349" y="1453693"/>
            <a:ext cx="2536825" cy="1365707"/>
          </a:xfrm>
          <a:solidFill>
            <a:schemeClr val="accent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D0318B0-77AA-17C5-658E-E07E70C932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86757" y="2957437"/>
            <a:ext cx="2527025" cy="32750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b="1" dirty="0">
                <a:solidFill>
                  <a:schemeClr val="accent1"/>
                </a:solidFill>
              </a:defRPr>
            </a:lvl1pPr>
            <a:lvl2pPr marL="190412" indent="0">
              <a:buNone/>
              <a:defRPr sz="1575"/>
            </a:lvl2pPr>
            <a:lvl3pPr marL="380825" indent="0">
              <a:buNone/>
              <a:defRPr sz="1575"/>
            </a:lvl3pPr>
            <a:lvl4pPr marL="571237" indent="0">
              <a:buNone/>
              <a:defRPr sz="1575"/>
            </a:lvl4pPr>
            <a:lvl5pPr marL="761649" indent="0">
              <a:buNone/>
              <a:defRPr sz="1575"/>
            </a:lvl5pPr>
          </a:lstStyle>
          <a:p>
            <a:pPr lvl="0"/>
            <a:r>
              <a:rPr lang="en-US"/>
              <a:t>Header Goes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53914C1-786A-DEF8-84EE-0ABFD5CCF6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86757" y="3423974"/>
            <a:ext cx="2527025" cy="2522952"/>
          </a:xfrm>
        </p:spPr>
        <p:txBody>
          <a:bodyPr>
            <a:normAutofit/>
          </a:bodyPr>
          <a:lstStyle>
            <a:lvl1pPr marL="0" indent="0">
              <a:buNone/>
              <a:def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791BA985-AA7F-15F6-BC97-64EAF38D140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386758" y="1453693"/>
            <a:ext cx="2536825" cy="1365707"/>
          </a:xfrm>
          <a:solidFill>
            <a:schemeClr val="accent3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2DD5F35-D8C8-3821-3BB3-7877F6CFBF3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49227" y="2957437"/>
            <a:ext cx="2527025" cy="32750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b="1" dirty="0">
                <a:solidFill>
                  <a:schemeClr val="accent1"/>
                </a:solidFill>
              </a:defRPr>
            </a:lvl1pPr>
            <a:lvl2pPr marL="190412" indent="0">
              <a:buNone/>
              <a:defRPr sz="1575"/>
            </a:lvl2pPr>
            <a:lvl3pPr marL="380825" indent="0">
              <a:buNone/>
              <a:defRPr sz="1575"/>
            </a:lvl3pPr>
            <a:lvl4pPr marL="571237" indent="0">
              <a:buNone/>
              <a:defRPr sz="1575"/>
            </a:lvl4pPr>
            <a:lvl5pPr marL="761649" indent="0">
              <a:buNone/>
              <a:defRPr sz="1575"/>
            </a:lvl5pPr>
          </a:lstStyle>
          <a:p>
            <a:pPr lvl="0"/>
            <a:r>
              <a:rPr lang="en-US"/>
              <a:t>Header Goes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BAAAD58-1D2E-B19F-A48B-CE812F213F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49227" y="3423974"/>
            <a:ext cx="2527025" cy="2522952"/>
          </a:xfrm>
        </p:spPr>
        <p:txBody>
          <a:bodyPr>
            <a:normAutofit/>
          </a:bodyPr>
          <a:lstStyle>
            <a:lvl1pPr marL="0" indent="0">
              <a:buNone/>
              <a:def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6F7A88FC-7F2C-3280-FF08-D202E53619AD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249228" y="1453693"/>
            <a:ext cx="2536825" cy="1365707"/>
          </a:xfrm>
          <a:solidFill>
            <a:schemeClr val="accent5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1F3142A-3160-B63A-BC3E-8ED42BE0E90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81879" y="2957437"/>
            <a:ext cx="2527025" cy="32750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b="1" dirty="0">
                <a:solidFill>
                  <a:schemeClr val="accent1"/>
                </a:solidFill>
              </a:defRPr>
            </a:lvl1pPr>
            <a:lvl2pPr marL="190412" indent="0">
              <a:buNone/>
              <a:defRPr sz="1575"/>
            </a:lvl2pPr>
            <a:lvl3pPr marL="380825" indent="0">
              <a:buNone/>
              <a:defRPr sz="1575"/>
            </a:lvl3pPr>
            <a:lvl4pPr marL="571237" indent="0">
              <a:buNone/>
              <a:defRPr sz="1575"/>
            </a:lvl4pPr>
            <a:lvl5pPr marL="761649" indent="0">
              <a:buNone/>
              <a:defRPr sz="1575"/>
            </a:lvl5pPr>
          </a:lstStyle>
          <a:p>
            <a:pPr lvl="0"/>
            <a:r>
              <a:rPr lang="en-US"/>
              <a:t>Header Goes Her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D1393CA-D638-934F-6FE6-D78C9A77E5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81879" y="3423974"/>
            <a:ext cx="2527025" cy="2522952"/>
          </a:xfrm>
        </p:spPr>
        <p:txBody>
          <a:bodyPr>
            <a:normAutofit/>
          </a:bodyPr>
          <a:lstStyle>
            <a:lvl1pPr marL="0" indent="0">
              <a:buNone/>
              <a:def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  <a:p>
            <a:pPr lvl="0"/>
            <a:r>
              <a:rPr lang="en-US"/>
              <a:t>Text goes here</a:t>
            </a:r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B20627EE-DA8D-BA7C-C270-E0EB7733CC99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9081880" y="1453693"/>
            <a:ext cx="2536825" cy="1365707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7697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123255D-4281-8870-2844-91C5573C9F8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978634" y="2434968"/>
            <a:ext cx="3083035" cy="410369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5C16EEE-D8B3-9418-0DAE-DE2C1BDA63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8766" y="569617"/>
            <a:ext cx="4768730" cy="612776"/>
          </a:xfrm>
        </p:spPr>
        <p:txBody>
          <a:bodyPr anchor="ctr">
            <a:noAutofit/>
          </a:bodyPr>
          <a:lstStyle>
            <a:lvl1pPr marL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Case Study Name</a:t>
            </a:r>
            <a:endParaRPr lang="en-US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4909A3A-21D0-9BA5-1FA0-5997EDAF1C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15000" y="1046021"/>
            <a:ext cx="6008699" cy="1326273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DA56EE66-901E-2CED-27CE-97F075AE853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15000" y="569616"/>
            <a:ext cx="6008699" cy="374161"/>
          </a:xfrm>
          <a:solidFill>
            <a:schemeClr val="tx1">
              <a:lumMod val="75000"/>
              <a:lumOff val="25000"/>
            </a:schemeClr>
          </a:solidFill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halleng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41B08ED9-F0A5-D0F3-FB0F-767C390254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715000" y="2950943"/>
            <a:ext cx="6008699" cy="1326273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7DC2EC61-F3DA-4551-8318-59271AF359D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5000" y="2474538"/>
            <a:ext cx="6008699" cy="374161"/>
          </a:xfrm>
          <a:solidFill>
            <a:schemeClr val="accent2"/>
          </a:solidFill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Solution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66BC63A-8022-E329-C007-794C5B96F5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5000" y="4855866"/>
            <a:ext cx="6008699" cy="1326273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29" name="Text Placeholder 13">
            <a:extLst>
              <a:ext uri="{FF2B5EF4-FFF2-40B4-BE49-F238E27FC236}">
                <a16:creationId xmlns:a16="http://schemas.microsoft.com/office/drawing/2014/main" id="{297C7DBD-9066-C2B5-8267-E7DB1D7B77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5000" y="4379460"/>
            <a:ext cx="6008699" cy="374161"/>
          </a:xfrm>
          <a:solidFill>
            <a:schemeClr val="accent3">
              <a:lumMod val="75000"/>
            </a:schemeClr>
          </a:solidFill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675E17E0-5704-C7DB-5763-E41F59E1C46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88370" y="3230778"/>
            <a:ext cx="3687707" cy="2557705"/>
          </a:xfrm>
          <a:prstGeom prst="roundRect">
            <a:avLst>
              <a:gd name="adj" fmla="val 2503"/>
            </a:avLst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474EDA87-7D38-5503-D4B0-1E73A9F9500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38766" y="1356473"/>
            <a:ext cx="4768730" cy="1492226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About the customer/case study</a:t>
            </a:r>
          </a:p>
        </p:txBody>
      </p:sp>
    </p:spTree>
    <p:extLst>
      <p:ext uri="{BB962C8B-B14F-4D97-AF65-F5344CB8AC3E}">
        <p14:creationId xmlns:p14="http://schemas.microsoft.com/office/powerpoint/2010/main" val="3375387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l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81F74A9-39D3-27A1-ACC2-1D1929A5D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2031" y="5711"/>
            <a:ext cx="12192000" cy="6858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7243666-3796-5620-397A-B96089739744}"/>
              </a:ext>
            </a:extLst>
          </p:cNvPr>
          <p:cNvCxnSpPr>
            <a:cxnSpLocks/>
          </p:cNvCxnSpPr>
          <p:nvPr/>
        </p:nvCxnSpPr>
        <p:spPr>
          <a:xfrm>
            <a:off x="670844" y="6378118"/>
            <a:ext cx="1111794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C20CC12-342D-8E04-0328-6C51AEB41E35}"/>
              </a:ext>
            </a:extLst>
          </p:cNvPr>
          <p:cNvSpPr/>
          <p:nvPr/>
        </p:nvSpPr>
        <p:spPr>
          <a:xfrm>
            <a:off x="403214" y="6228730"/>
            <a:ext cx="356713" cy="629269"/>
          </a:xfrm>
          <a:prstGeom prst="rect">
            <a:avLst/>
          </a:prstGeom>
          <a:solidFill>
            <a:srgbClr val="C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B2CCC6-6970-10FC-9A5C-614AF849F5D4}"/>
              </a:ext>
            </a:extLst>
          </p:cNvPr>
          <p:cNvSpPr txBox="1">
            <a:spLocks/>
          </p:cNvSpPr>
          <p:nvPr/>
        </p:nvSpPr>
        <p:spPr>
          <a:xfrm>
            <a:off x="403214" y="6473393"/>
            <a:ext cx="356713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C1CC88B-8153-4770-B0DF-840C5C37FBC3}" type="slidenum">
              <a:rPr lang="en-IN" sz="900" smtClean="0">
                <a:solidFill>
                  <a:schemeClr val="bg1"/>
                </a:solidFill>
              </a:rPr>
              <a:pPr algn="ctr"/>
              <a:t>‹#›</a:t>
            </a:fld>
            <a:endParaRPr lang="en-IN" sz="900">
              <a:solidFill>
                <a:schemeClr val="bg1"/>
              </a:solidFill>
            </a:endParaRPr>
          </a:p>
        </p:txBody>
      </p:sp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4EC4011E-E75F-31FE-3442-1F61CE7FD31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127538">
            <a:off x="10825146" y="6187013"/>
            <a:ext cx="462875" cy="429841"/>
          </a:xfrm>
          <a:prstGeom prst="rect">
            <a:avLst/>
          </a:prstGeom>
          <a:effectLst>
            <a:outerShdw blurRad="558800" dist="241300" dir="6000000" sx="97000" sy="97000" algn="ctr" rotWithShape="0">
              <a:srgbClr val="000000">
                <a:alpha val="73000"/>
              </a:srgbClr>
            </a:outerShdw>
          </a:effectLst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BCCDF491-0B88-A1E2-3BE9-12EFE231A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898" y="154495"/>
            <a:ext cx="11359107" cy="505732"/>
          </a:xfrm>
          <a:prstGeom prst="rect">
            <a:avLst/>
          </a:prstGeom>
        </p:spPr>
        <p:txBody>
          <a:bodyPr lIns="90000" rIns="90000" anchor="b"/>
          <a:lstStyle>
            <a:lvl1pPr algn="l">
              <a:defRPr sz="2600" b="1">
                <a:solidFill>
                  <a:schemeClr val="bg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9" name="Picture 18" descr="A black and red logo&#10;&#10;Description automatically generated">
            <a:extLst>
              <a:ext uri="{FF2B5EF4-FFF2-40B4-BE49-F238E27FC236}">
                <a16:creationId xmlns:a16="http://schemas.microsoft.com/office/drawing/2014/main" id="{52E2B8C1-A50D-13DB-3AA5-6541066CCB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5513" y="6311650"/>
            <a:ext cx="1400784" cy="64008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385610-A4DB-BC05-9919-033F52D218FF}"/>
              </a:ext>
            </a:extLst>
          </p:cNvPr>
          <p:cNvSpPr txBox="1">
            <a:spLocks/>
          </p:cNvSpPr>
          <p:nvPr userDrawn="1"/>
        </p:nvSpPr>
        <p:spPr>
          <a:xfrm>
            <a:off x="964395" y="6471994"/>
            <a:ext cx="695326" cy="2326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EF598-DD41-4849-8A14-1B5F91BEB9F1}" type="datetime1">
              <a:rPr lang="en-US" smtClean="0">
                <a:solidFill>
                  <a:schemeClr val="bg1"/>
                </a:solidFill>
                <a:latin typeface="+mj-lt"/>
              </a:rPr>
              <a:pPr/>
              <a:t>5/25/2026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2E60EF9C-3483-04D9-5310-5BC744E789BB}"/>
              </a:ext>
            </a:extLst>
          </p:cNvPr>
          <p:cNvSpPr txBox="1">
            <a:spLocks/>
          </p:cNvSpPr>
          <p:nvPr userDrawn="1"/>
        </p:nvSpPr>
        <p:spPr>
          <a:xfrm>
            <a:off x="1714153" y="6473393"/>
            <a:ext cx="1000718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8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© 2024 Birlasoft</a:t>
            </a:r>
          </a:p>
        </p:txBody>
      </p:sp>
    </p:spTree>
    <p:extLst>
      <p:ext uri="{BB962C8B-B14F-4D97-AF65-F5344CB8AC3E}">
        <p14:creationId xmlns:p14="http://schemas.microsoft.com/office/powerpoint/2010/main" val="2309427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pos="7423">
          <p15:clr>
            <a:srgbClr val="FBAE40"/>
          </p15:clr>
        </p15:guide>
        <p15:guide id="5" orient="horz" pos="731">
          <p15:clr>
            <a:srgbClr val="FBAE40"/>
          </p15:clr>
        </p15:guide>
        <p15:guide id="6" orient="horz" pos="109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5C16EEE-D8B3-9418-0DAE-DE2C1BDA63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4350" y="569617"/>
            <a:ext cx="11020426" cy="612776"/>
          </a:xfrm>
        </p:spPr>
        <p:txBody>
          <a:bodyPr anchor="ctr">
            <a:noAutofit/>
          </a:bodyPr>
          <a:lstStyle>
            <a:lvl1pPr marL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Case Study Name</a:t>
            </a:r>
            <a:endParaRPr lang="en-US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34909A3A-21D0-9BA5-1FA0-5997EDAF1C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4555" y="2506405"/>
            <a:ext cx="2743619" cy="3596221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DA56EE66-901E-2CED-27CE-97F075AE853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214555" y="1973005"/>
            <a:ext cx="2743619" cy="369203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halleng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41B08ED9-F0A5-D0F3-FB0F-767C390254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40725" y="2506405"/>
            <a:ext cx="2676599" cy="3596221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7DC2EC61-F3DA-4551-8318-59271AF359D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40725" y="1973005"/>
            <a:ext cx="2676599" cy="369203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Solution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66BC63A-8022-E329-C007-794C5B96F5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77446" y="2506405"/>
            <a:ext cx="2676599" cy="3596221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29" name="Text Placeholder 13">
            <a:extLst>
              <a:ext uri="{FF2B5EF4-FFF2-40B4-BE49-F238E27FC236}">
                <a16:creationId xmlns:a16="http://schemas.microsoft.com/office/drawing/2014/main" id="{297C7DBD-9066-C2B5-8267-E7DB1D7B77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77445" y="1973005"/>
            <a:ext cx="2676600" cy="369203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04CB0F1-A985-3D29-2B94-3ACE217968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2550" y="1438276"/>
            <a:ext cx="2200275" cy="278847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IN"/>
              <a:t>Industry Nam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BF437881-5D59-4A90-3DB3-8F1D5DB883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4350" y="1438276"/>
            <a:ext cx="457201" cy="289185"/>
          </a:xfrm>
        </p:spPr>
        <p:txBody>
          <a:bodyPr anchor="ctr">
            <a:noAutofit/>
          </a:bodyPr>
          <a:lstStyle>
            <a:lvl1pPr marL="0" indent="0">
              <a:buNone/>
              <a:defRPr lang="en-IN" sz="1200" dirty="0"/>
            </a:lvl1pPr>
          </a:lstStyle>
          <a:p>
            <a:pPr lvl="0"/>
            <a:r>
              <a:rPr lang="en-IN"/>
              <a:t>Icon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9AC77805-FC94-E71E-1B2F-9578D9D237D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4350" y="1973004"/>
            <a:ext cx="2493238" cy="4129621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About the customer/case study</a:t>
            </a:r>
          </a:p>
        </p:txBody>
      </p:sp>
    </p:spTree>
    <p:extLst>
      <p:ext uri="{BB962C8B-B14F-4D97-AF65-F5344CB8AC3E}">
        <p14:creationId xmlns:p14="http://schemas.microsoft.com/office/powerpoint/2010/main" val="2250259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Slide-Standar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01045E3-C410-1D90-B52D-DD51BA0FD5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0"/>
          </a:blip>
          <a:srcRect t="3563" b="3563"/>
          <a:stretch/>
        </p:blipFill>
        <p:spPr>
          <a:xfrm>
            <a:off x="0" y="6626"/>
            <a:ext cx="12192000" cy="636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036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-Standard Background">
    <p:bg>
      <p:bgPr>
        <a:solidFill>
          <a:schemeClr val="bg1">
            <a:alpha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01045E3-C410-1D90-B52D-DD51BA0FD5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5000"/>
          </a:blip>
          <a:srcRect t="3563" b="3563"/>
          <a:stretch/>
        </p:blipFill>
        <p:spPr>
          <a:xfrm>
            <a:off x="0" y="0"/>
            <a:ext cx="12192000" cy="636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26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-Standar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B3326B5-A119-A16E-30A4-D8DDC8A682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l="13678" t="20442" r="16247" b="24655"/>
          <a:stretch>
            <a:fillRect/>
          </a:stretch>
        </p:blipFill>
        <p:spPr>
          <a:xfrm>
            <a:off x="0" y="0"/>
            <a:ext cx="12192000" cy="6369280"/>
          </a:xfrm>
          <a:prstGeom prst="rect">
            <a:avLst/>
          </a:prstGeom>
        </p:spPr>
      </p:pic>
      <p:pic>
        <p:nvPicPr>
          <p:cNvPr id="2" name="Picture 1" descr="A close-up of a colorful light&#10;&#10;Description automatically generated">
            <a:extLst>
              <a:ext uri="{FF2B5EF4-FFF2-40B4-BE49-F238E27FC236}">
                <a16:creationId xmlns:a16="http://schemas.microsoft.com/office/drawing/2014/main" id="{601045E3-C410-1D90-B52D-DD51BA0FD5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lum bright="70000" contrast="-70000"/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209" t="1780" r="4367" b="24575"/>
          <a:stretch/>
        </p:blipFill>
        <p:spPr>
          <a:xfrm>
            <a:off x="0" y="0"/>
            <a:ext cx="12192000" cy="636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121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-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220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1073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A44BE7CC-2C59-D673-1BC8-A9724D545C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31" y="0"/>
            <a:ext cx="12192001" cy="6857999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7243666-3796-5620-397A-B96089739744}"/>
              </a:ext>
            </a:extLst>
          </p:cNvPr>
          <p:cNvCxnSpPr>
            <a:cxnSpLocks/>
          </p:cNvCxnSpPr>
          <p:nvPr/>
        </p:nvCxnSpPr>
        <p:spPr>
          <a:xfrm>
            <a:off x="670844" y="6378118"/>
            <a:ext cx="1111794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C20CC12-342D-8E04-0328-6C51AEB41E35}"/>
              </a:ext>
            </a:extLst>
          </p:cNvPr>
          <p:cNvSpPr/>
          <p:nvPr/>
        </p:nvSpPr>
        <p:spPr>
          <a:xfrm>
            <a:off x="403214" y="6228730"/>
            <a:ext cx="356713" cy="629269"/>
          </a:xfrm>
          <a:prstGeom prst="rect">
            <a:avLst/>
          </a:prstGeom>
          <a:solidFill>
            <a:srgbClr val="C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B2CCC6-6970-10FC-9A5C-614AF849F5D4}"/>
              </a:ext>
            </a:extLst>
          </p:cNvPr>
          <p:cNvSpPr txBox="1">
            <a:spLocks/>
          </p:cNvSpPr>
          <p:nvPr/>
        </p:nvSpPr>
        <p:spPr>
          <a:xfrm>
            <a:off x="403214" y="6473393"/>
            <a:ext cx="356713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C1CC88B-8153-4770-B0DF-840C5C37FBC3}" type="slidenum">
              <a:rPr lang="en-IN" sz="900" smtClean="0">
                <a:solidFill>
                  <a:schemeClr val="bg1"/>
                </a:solidFill>
              </a:rPr>
              <a:pPr algn="ctr"/>
              <a:t>‹#›</a:t>
            </a:fld>
            <a:endParaRPr lang="en-IN" sz="900">
              <a:solidFill>
                <a:schemeClr val="bg1"/>
              </a:solidFill>
            </a:endParaRPr>
          </a:p>
        </p:txBody>
      </p:sp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4EC4011E-E75F-31FE-3442-1F61CE7FD31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127538">
            <a:off x="10825146" y="6187013"/>
            <a:ext cx="462875" cy="429841"/>
          </a:xfrm>
          <a:prstGeom prst="rect">
            <a:avLst/>
          </a:prstGeom>
          <a:effectLst>
            <a:outerShdw blurRad="558800" dist="241300" dir="6000000" sx="97000" sy="97000" algn="ctr" rotWithShape="0">
              <a:srgbClr val="000000">
                <a:alpha val="73000"/>
              </a:srgbClr>
            </a:outerShdw>
          </a:effectLst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BCCDF491-0B88-A1E2-3BE9-12EFE231A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898" y="154495"/>
            <a:ext cx="11359107" cy="505732"/>
          </a:xfrm>
          <a:prstGeom prst="rect">
            <a:avLst/>
          </a:prstGeom>
        </p:spPr>
        <p:txBody>
          <a:bodyPr lIns="90000" rIns="90000" anchor="b"/>
          <a:lstStyle>
            <a:lvl1pPr algn="l">
              <a:defRPr sz="2600" b="1">
                <a:solidFill>
                  <a:schemeClr val="tx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9" name="Picture 18" descr="A black and red logo&#10;&#10;Description automatically generated">
            <a:extLst>
              <a:ext uri="{FF2B5EF4-FFF2-40B4-BE49-F238E27FC236}">
                <a16:creationId xmlns:a16="http://schemas.microsoft.com/office/drawing/2014/main" id="{52E2B8C1-A50D-13DB-3AA5-6541066CCB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5513" y="6311650"/>
            <a:ext cx="1400784" cy="64008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385610-A4DB-BC05-9919-033F52D218FF}"/>
              </a:ext>
            </a:extLst>
          </p:cNvPr>
          <p:cNvSpPr txBox="1">
            <a:spLocks/>
          </p:cNvSpPr>
          <p:nvPr userDrawn="1"/>
        </p:nvSpPr>
        <p:spPr>
          <a:xfrm>
            <a:off x="964395" y="6471994"/>
            <a:ext cx="695326" cy="2326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EF598-DD41-4849-8A14-1B5F91BEB9F1}" type="datetime1">
              <a:rPr lang="en-US" smtClean="0">
                <a:latin typeface="+mj-lt"/>
              </a:rPr>
              <a:pPr/>
              <a:t>5/25/2026</a:t>
            </a:fld>
            <a:endParaRPr lang="en-US">
              <a:latin typeface="+mj-lt"/>
            </a:endParaRPr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2E60EF9C-3483-04D9-5310-5BC744E789BB}"/>
              </a:ext>
            </a:extLst>
          </p:cNvPr>
          <p:cNvSpPr txBox="1">
            <a:spLocks/>
          </p:cNvSpPr>
          <p:nvPr userDrawn="1"/>
        </p:nvSpPr>
        <p:spPr>
          <a:xfrm>
            <a:off x="1714153" y="6473393"/>
            <a:ext cx="1000718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8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© 2024 Birlasoft</a:t>
            </a:r>
          </a:p>
        </p:txBody>
      </p:sp>
    </p:spTree>
    <p:extLst>
      <p:ext uri="{BB962C8B-B14F-4D97-AF65-F5344CB8AC3E}">
        <p14:creationId xmlns:p14="http://schemas.microsoft.com/office/powerpoint/2010/main" val="734957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pos="7423">
          <p15:clr>
            <a:srgbClr val="FBAE40"/>
          </p15:clr>
        </p15:guide>
        <p15:guide id="5" orient="horz" pos="731">
          <p15:clr>
            <a:srgbClr val="FBAE40"/>
          </p15:clr>
        </p15:guide>
        <p15:guide id="6" orient="horz" pos="109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l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A44BE7CC-2C59-D673-1BC8-A9724D545C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31" y="0"/>
            <a:ext cx="12192001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4CA03A-7ED8-61EB-B1CF-DA70F0A754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2031" y="5711"/>
            <a:ext cx="12192000" cy="6858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7243666-3796-5620-397A-B96089739744}"/>
              </a:ext>
            </a:extLst>
          </p:cNvPr>
          <p:cNvCxnSpPr>
            <a:cxnSpLocks/>
          </p:cNvCxnSpPr>
          <p:nvPr/>
        </p:nvCxnSpPr>
        <p:spPr>
          <a:xfrm>
            <a:off x="670844" y="6378118"/>
            <a:ext cx="1111794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C20CC12-342D-8E04-0328-6C51AEB41E35}"/>
              </a:ext>
            </a:extLst>
          </p:cNvPr>
          <p:cNvSpPr/>
          <p:nvPr/>
        </p:nvSpPr>
        <p:spPr>
          <a:xfrm>
            <a:off x="403214" y="6228730"/>
            <a:ext cx="356713" cy="629269"/>
          </a:xfrm>
          <a:prstGeom prst="rect">
            <a:avLst/>
          </a:prstGeom>
          <a:solidFill>
            <a:srgbClr val="C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B2CCC6-6970-10FC-9A5C-614AF849F5D4}"/>
              </a:ext>
            </a:extLst>
          </p:cNvPr>
          <p:cNvSpPr txBox="1">
            <a:spLocks/>
          </p:cNvSpPr>
          <p:nvPr/>
        </p:nvSpPr>
        <p:spPr>
          <a:xfrm>
            <a:off x="403214" y="6473393"/>
            <a:ext cx="356713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C1CC88B-8153-4770-B0DF-840C5C37FBC3}" type="slidenum">
              <a:rPr lang="en-IN" sz="900" smtClean="0">
                <a:solidFill>
                  <a:schemeClr val="bg1"/>
                </a:solidFill>
              </a:rPr>
              <a:pPr algn="ctr"/>
              <a:t>‹#›</a:t>
            </a:fld>
            <a:endParaRPr lang="en-IN" sz="900">
              <a:solidFill>
                <a:schemeClr val="bg1"/>
              </a:solidFill>
            </a:endParaRPr>
          </a:p>
        </p:txBody>
      </p:sp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4EC4011E-E75F-31FE-3442-1F61CE7FD3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127538">
            <a:off x="10825146" y="6187013"/>
            <a:ext cx="462875" cy="429841"/>
          </a:xfrm>
          <a:prstGeom prst="rect">
            <a:avLst/>
          </a:prstGeom>
          <a:effectLst>
            <a:outerShdw blurRad="558800" dist="241300" dir="6000000" sx="97000" sy="97000" algn="ctr" rotWithShape="0">
              <a:srgbClr val="000000">
                <a:alpha val="73000"/>
              </a:srgbClr>
            </a:outerShdw>
          </a:effectLst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BCCDF491-0B88-A1E2-3BE9-12EFE231A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898" y="154495"/>
            <a:ext cx="11359107" cy="505732"/>
          </a:xfrm>
          <a:prstGeom prst="rect">
            <a:avLst/>
          </a:prstGeom>
        </p:spPr>
        <p:txBody>
          <a:bodyPr lIns="90000" rIns="90000" anchor="b"/>
          <a:lstStyle>
            <a:lvl1pPr algn="l">
              <a:defRPr sz="2600" b="1">
                <a:solidFill>
                  <a:schemeClr val="tx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9" name="Picture 18" descr="A black and red logo&#10;&#10;Description automatically generated">
            <a:extLst>
              <a:ext uri="{FF2B5EF4-FFF2-40B4-BE49-F238E27FC236}">
                <a16:creationId xmlns:a16="http://schemas.microsoft.com/office/drawing/2014/main" id="{52E2B8C1-A50D-13DB-3AA5-6541066CCBF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5513" y="6311650"/>
            <a:ext cx="1400784" cy="64008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385610-A4DB-BC05-9919-033F52D218FF}"/>
              </a:ext>
            </a:extLst>
          </p:cNvPr>
          <p:cNvSpPr txBox="1">
            <a:spLocks/>
          </p:cNvSpPr>
          <p:nvPr userDrawn="1"/>
        </p:nvSpPr>
        <p:spPr>
          <a:xfrm>
            <a:off x="964395" y="6471994"/>
            <a:ext cx="695326" cy="2326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EF598-DD41-4849-8A14-1B5F91BEB9F1}" type="datetime1">
              <a:rPr lang="en-US" smtClean="0">
                <a:solidFill>
                  <a:schemeClr val="bg1"/>
                </a:solidFill>
                <a:latin typeface="+mj-lt"/>
              </a:rPr>
              <a:pPr/>
              <a:t>5/25/2026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2E60EF9C-3483-04D9-5310-5BC744E789BB}"/>
              </a:ext>
            </a:extLst>
          </p:cNvPr>
          <p:cNvSpPr txBox="1">
            <a:spLocks/>
          </p:cNvSpPr>
          <p:nvPr userDrawn="1"/>
        </p:nvSpPr>
        <p:spPr>
          <a:xfrm>
            <a:off x="1714153" y="6473393"/>
            <a:ext cx="1000718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8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© 2023 Birlasoft</a:t>
            </a:r>
          </a:p>
        </p:txBody>
      </p:sp>
    </p:spTree>
    <p:extLst>
      <p:ext uri="{BB962C8B-B14F-4D97-AF65-F5344CB8AC3E}">
        <p14:creationId xmlns:p14="http://schemas.microsoft.com/office/powerpoint/2010/main" val="646848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pos="7423">
          <p15:clr>
            <a:srgbClr val="FBAE40"/>
          </p15:clr>
        </p15:guide>
        <p15:guide id="5" orient="horz" pos="731">
          <p15:clr>
            <a:srgbClr val="FBAE40"/>
          </p15:clr>
        </p15:guide>
        <p15:guide id="6" orient="horz" pos="109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51317CB9-BCBD-2A99-AE5A-FB1333E6B5DC}"/>
              </a:ext>
            </a:extLst>
          </p:cNvPr>
          <p:cNvGrpSpPr/>
          <p:nvPr/>
        </p:nvGrpSpPr>
        <p:grpSpPr>
          <a:xfrm>
            <a:off x="0" y="1364342"/>
            <a:ext cx="12214797" cy="3865705"/>
            <a:chOff x="0" y="1364342"/>
            <a:chExt cx="12214797" cy="386570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8455D5C-7D95-F297-C0C5-8181971005E1}"/>
                </a:ext>
              </a:extLst>
            </p:cNvPr>
            <p:cNvSpPr/>
            <p:nvPr userDrawn="1"/>
          </p:nvSpPr>
          <p:spPr>
            <a:xfrm>
              <a:off x="0" y="1364342"/>
              <a:ext cx="5581650" cy="386570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5" name="Picture 4" descr="A colorful squares in a dark room&#10;&#10;Description automatically generated">
              <a:extLst>
                <a:ext uri="{FF2B5EF4-FFF2-40B4-BE49-F238E27FC236}">
                  <a16:creationId xmlns:a16="http://schemas.microsoft.com/office/drawing/2014/main" id="{CA14291A-6C3B-4BF4-6FAB-F8A40F18624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90072" y="1364342"/>
              <a:ext cx="10624725" cy="3865705"/>
            </a:xfrm>
            <a:prstGeom prst="rect">
              <a:avLst/>
            </a:prstGeom>
          </p:spPr>
        </p:pic>
      </p:grpSp>
      <p:pic>
        <p:nvPicPr>
          <p:cNvPr id="3" name="Picture 2" descr="A picture containing light, night sky&#10;&#10;Description automatically generated">
            <a:extLst>
              <a:ext uri="{FF2B5EF4-FFF2-40B4-BE49-F238E27FC236}">
                <a16:creationId xmlns:a16="http://schemas.microsoft.com/office/drawing/2014/main" id="{4F77CED5-F505-D584-E354-7757C47F46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4342"/>
            <a:ext cx="12192000" cy="386570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46DC46E-33DC-C21F-8E4D-3E2259995F4F}"/>
              </a:ext>
            </a:extLst>
          </p:cNvPr>
          <p:cNvSpPr/>
          <p:nvPr/>
        </p:nvSpPr>
        <p:spPr>
          <a:xfrm>
            <a:off x="0" y="1364342"/>
            <a:ext cx="9182100" cy="386570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0000"/>
                </a:schemeClr>
              </a:gs>
              <a:gs pos="74000">
                <a:schemeClr val="tx1">
                  <a:alpha val="0"/>
                </a:schemeClr>
              </a:gs>
              <a:gs pos="45000">
                <a:schemeClr val="tx1">
                  <a:alpha val="5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6" name="Picture 5" descr="Shape, arrow&#10;&#10;Description automatically generated">
            <a:extLst>
              <a:ext uri="{FF2B5EF4-FFF2-40B4-BE49-F238E27FC236}">
                <a16:creationId xmlns:a16="http://schemas.microsoft.com/office/drawing/2014/main" id="{5F9D5FA2-E94E-573E-D128-9FAD5B75D43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127538">
            <a:off x="9208229" y="601155"/>
            <a:ext cx="1786655" cy="1659147"/>
          </a:xfrm>
          <a:prstGeom prst="rect">
            <a:avLst/>
          </a:prstGeom>
          <a:effectLst>
            <a:outerShdw blurRad="558800" dist="241300" dir="6000000" sx="97000" sy="97000" algn="ctr" rotWithShape="0">
              <a:srgbClr val="000000">
                <a:alpha val="73000"/>
              </a:srgbClr>
            </a:outerShdw>
          </a:effec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027F4A7-ABCD-A451-A1E6-67D3DAEF4EFD}"/>
              </a:ext>
            </a:extLst>
          </p:cNvPr>
          <p:cNvCxnSpPr>
            <a:cxnSpLocks/>
          </p:cNvCxnSpPr>
          <p:nvPr/>
        </p:nvCxnSpPr>
        <p:spPr>
          <a:xfrm>
            <a:off x="670844" y="6378118"/>
            <a:ext cx="1111794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569D929-DA21-2C19-DF00-E73EF9348BF3}"/>
              </a:ext>
            </a:extLst>
          </p:cNvPr>
          <p:cNvSpPr/>
          <p:nvPr/>
        </p:nvSpPr>
        <p:spPr>
          <a:xfrm>
            <a:off x="403214" y="6228731"/>
            <a:ext cx="356713" cy="629269"/>
          </a:xfrm>
          <a:prstGeom prst="rect">
            <a:avLst/>
          </a:prstGeom>
          <a:solidFill>
            <a:srgbClr val="C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E0AB947-9EBB-7A7B-8A2F-389B706E6D11}"/>
              </a:ext>
            </a:extLst>
          </p:cNvPr>
          <p:cNvSpPr txBox="1">
            <a:spLocks/>
          </p:cNvSpPr>
          <p:nvPr/>
        </p:nvSpPr>
        <p:spPr>
          <a:xfrm>
            <a:off x="403214" y="6473393"/>
            <a:ext cx="356713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C1CC88B-8153-4770-B0DF-840C5C37FBC3}" type="slidenum">
              <a:rPr lang="en-IN" sz="900" smtClean="0">
                <a:solidFill>
                  <a:schemeClr val="bg1"/>
                </a:solidFill>
              </a:rPr>
              <a:pPr algn="ctr"/>
              <a:t>‹#›</a:t>
            </a:fld>
            <a:endParaRPr lang="en-IN" sz="900">
              <a:solidFill>
                <a:schemeClr val="bg1"/>
              </a:solidFill>
            </a:endParaRPr>
          </a:p>
        </p:txBody>
      </p:sp>
      <p:pic>
        <p:nvPicPr>
          <p:cNvPr id="13" name="Picture 12" descr="Shape, arrow&#10;&#10;Description automatically generated">
            <a:extLst>
              <a:ext uri="{FF2B5EF4-FFF2-40B4-BE49-F238E27FC236}">
                <a16:creationId xmlns:a16="http://schemas.microsoft.com/office/drawing/2014/main" id="{A8EAC522-E99A-1F38-C092-E4684C5123C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127538">
            <a:off x="10825146" y="6187013"/>
            <a:ext cx="462875" cy="429841"/>
          </a:xfrm>
          <a:prstGeom prst="rect">
            <a:avLst/>
          </a:prstGeom>
          <a:effectLst>
            <a:outerShdw blurRad="558800" dist="241300" dir="6000000" sx="97000" sy="97000" algn="ctr" rotWithShape="0">
              <a:srgbClr val="000000">
                <a:alpha val="73000"/>
              </a:srgbClr>
            </a:outerShdw>
          </a:effectLst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F46A1162-2B0B-1A6C-D72E-DA030D7FA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843" y="1892938"/>
            <a:ext cx="6605168" cy="2808513"/>
          </a:xfrm>
          <a:prstGeom prst="rect">
            <a:avLst/>
          </a:prstGeom>
        </p:spPr>
        <p:txBody>
          <a:bodyPr anchor="t"/>
          <a:lstStyle>
            <a:lvl1pPr marL="0" algn="l" defTabSz="914400" rtl="0" eaLnBrk="1" latinLnBrk="0" hangingPunct="1">
              <a:defRPr lang="en-US" sz="4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29A2B0-15FA-C10F-DAF1-B78A84C73969}"/>
              </a:ext>
            </a:extLst>
          </p:cNvPr>
          <p:cNvSpPr txBox="1">
            <a:spLocks/>
          </p:cNvSpPr>
          <p:nvPr userDrawn="1"/>
        </p:nvSpPr>
        <p:spPr>
          <a:xfrm>
            <a:off x="964395" y="6471994"/>
            <a:ext cx="695326" cy="2326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EF598-DD41-4849-8A14-1B5F91BEB9F1}" type="datetime1">
              <a:rPr lang="en-US" smtClean="0">
                <a:latin typeface="+mj-lt"/>
              </a:rPr>
              <a:pPr/>
              <a:t>5/25/2026</a:t>
            </a:fld>
            <a:endParaRPr lang="en-US">
              <a:latin typeface="+mj-lt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2BAE6CB-4802-14EF-3800-935C58545FE4}"/>
              </a:ext>
            </a:extLst>
          </p:cNvPr>
          <p:cNvSpPr txBox="1">
            <a:spLocks/>
          </p:cNvSpPr>
          <p:nvPr userDrawn="1"/>
        </p:nvSpPr>
        <p:spPr>
          <a:xfrm>
            <a:off x="1714153" y="6473393"/>
            <a:ext cx="1000718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8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© 2024 Birlasoft</a:t>
            </a:r>
          </a:p>
        </p:txBody>
      </p:sp>
    </p:spTree>
    <p:extLst>
      <p:ext uri="{BB962C8B-B14F-4D97-AF65-F5344CB8AC3E}">
        <p14:creationId xmlns:p14="http://schemas.microsoft.com/office/powerpoint/2010/main" val="3158264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69D981D-4561-CF87-81C7-50A5FB8D4BA7}"/>
              </a:ext>
            </a:extLst>
          </p:cNvPr>
          <p:cNvGrpSpPr/>
          <p:nvPr/>
        </p:nvGrpSpPr>
        <p:grpSpPr>
          <a:xfrm>
            <a:off x="0" y="1433244"/>
            <a:ext cx="12192000" cy="5723617"/>
            <a:chOff x="0" y="1433244"/>
            <a:chExt cx="12192000" cy="57236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6F9E53A-5EDE-60D9-3210-62E17F1A12F8}"/>
                </a:ext>
              </a:extLst>
            </p:cNvPr>
            <p:cNvSpPr/>
            <p:nvPr userDrawn="1"/>
          </p:nvSpPr>
          <p:spPr>
            <a:xfrm>
              <a:off x="0" y="1433244"/>
              <a:ext cx="5581650" cy="572229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7" name="Picture 6" descr="A person touching a large display of colorful squares&#10;&#10;Description automatically generated">
              <a:extLst>
                <a:ext uri="{FF2B5EF4-FFF2-40B4-BE49-F238E27FC236}">
                  <a16:creationId xmlns:a16="http://schemas.microsoft.com/office/drawing/2014/main" id="{46040FDC-B6E2-47C7-49BF-7E79C79701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5717" y="1433245"/>
              <a:ext cx="8586283" cy="5723616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F1832A43-6736-EB47-BAA7-423CC961B7A8}"/>
              </a:ext>
            </a:extLst>
          </p:cNvPr>
          <p:cNvSpPr/>
          <p:nvPr/>
        </p:nvSpPr>
        <p:spPr>
          <a:xfrm>
            <a:off x="5194922" y="6250061"/>
            <a:ext cx="244475" cy="2444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9FD3E28-6E4F-3152-5721-A378E00BD5B4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350" y="185293"/>
            <a:ext cx="2406650" cy="1098688"/>
          </a:xfrm>
          <a:prstGeom prst="rect">
            <a:avLst/>
          </a:prstGeom>
        </p:spPr>
      </p:pic>
      <p:pic>
        <p:nvPicPr>
          <p:cNvPr id="12" name="Graphic 11">
            <a:hlinkClick r:id="rId4"/>
            <a:extLst>
              <a:ext uri="{FF2B5EF4-FFF2-40B4-BE49-F238E27FC236}">
                <a16:creationId xmlns:a16="http://schemas.microsoft.com/office/drawing/2014/main" id="{49A4B0B7-001A-0506-0F58-59244B408800}"/>
              </a:ext>
            </a:extLst>
          </p:cNvPr>
          <p:cNvPicPr>
            <a:picLocks noChangeAspect="1"/>
          </p:cNvPicPr>
          <p:nvPr/>
        </p:nvPicPr>
        <p:blipFill>
          <a:blip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94922" y="6250061"/>
            <a:ext cx="244475" cy="244475"/>
          </a:xfrm>
          <a:prstGeom prst="rect">
            <a:avLst/>
          </a:prstGeom>
        </p:spPr>
      </p:pic>
      <p:sp>
        <p:nvSpPr>
          <p:cNvPr id="13" name="TextBox 12">
            <a:hlinkClick r:id="rId6"/>
            <a:extLst>
              <a:ext uri="{FF2B5EF4-FFF2-40B4-BE49-F238E27FC236}">
                <a16:creationId xmlns:a16="http://schemas.microsoft.com/office/drawing/2014/main" id="{E17582F5-47DB-6177-4DC4-ADD22AFE6B48}"/>
              </a:ext>
            </a:extLst>
          </p:cNvPr>
          <p:cNvSpPr txBox="1"/>
          <p:nvPr/>
        </p:nvSpPr>
        <p:spPr>
          <a:xfrm>
            <a:off x="5098401" y="5706636"/>
            <a:ext cx="209759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i="0">
                <a:solidFill>
                  <a:schemeClr val="bg1"/>
                </a:solidFill>
                <a:latin typeface="+mj-lt"/>
              </a:rPr>
              <a:t>Birlasoft.com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4107CFD-F9E6-4FFF-6FD5-DBE2183AC3BB}"/>
              </a:ext>
            </a:extLst>
          </p:cNvPr>
          <p:cNvGrpSpPr/>
          <p:nvPr/>
        </p:nvGrpSpPr>
        <p:grpSpPr>
          <a:xfrm>
            <a:off x="6797590" y="6250060"/>
            <a:ext cx="244475" cy="244478"/>
            <a:chOff x="8003187" y="6080863"/>
            <a:chExt cx="244475" cy="24447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A3D91B-FF3E-FEEA-4515-37F22E981F77}"/>
                </a:ext>
              </a:extLst>
            </p:cNvPr>
            <p:cNvSpPr/>
            <p:nvPr/>
          </p:nvSpPr>
          <p:spPr>
            <a:xfrm>
              <a:off x="8003187" y="6080866"/>
              <a:ext cx="244475" cy="2444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Graphic 15">
              <a:hlinkClick r:id="rId7"/>
              <a:extLst>
                <a:ext uri="{FF2B5EF4-FFF2-40B4-BE49-F238E27FC236}">
                  <a16:creationId xmlns:a16="http://schemas.microsoft.com/office/drawing/2014/main" id="{3819CFCB-77F2-FA75-3122-A3F954F265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-53467" t="-21609" r="-48007" b="-21586"/>
            <a:stretch/>
          </p:blipFill>
          <p:spPr>
            <a:xfrm>
              <a:off x="8003187" y="6080864"/>
              <a:ext cx="244475" cy="244475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B8159400-387C-7713-2C61-CF177E146ECD}"/>
              </a:ext>
            </a:extLst>
          </p:cNvPr>
          <p:cNvSpPr/>
          <p:nvPr/>
        </p:nvSpPr>
        <p:spPr>
          <a:xfrm>
            <a:off x="5591797" y="6250064"/>
            <a:ext cx="244475" cy="2444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hlinkClick r:id="rId9"/>
            <a:extLst>
              <a:ext uri="{FF2B5EF4-FFF2-40B4-BE49-F238E27FC236}">
                <a16:creationId xmlns:a16="http://schemas.microsoft.com/office/drawing/2014/main" id="{25E85C23-BAC7-71F3-C3C1-7C1792BDDE27}"/>
              </a:ext>
            </a:extLst>
          </p:cNvPr>
          <p:cNvPicPr>
            <a:picLocks noChangeAspect="1"/>
          </p:cNvPicPr>
          <p:nvPr/>
        </p:nvPicPr>
        <p:blipFill>
          <a:blip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95589" y="6250064"/>
            <a:ext cx="244475" cy="24447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55422A3-A8C5-CF30-1D82-095EF83F7DA2}"/>
              </a:ext>
            </a:extLst>
          </p:cNvPr>
          <p:cNvSpPr/>
          <p:nvPr/>
        </p:nvSpPr>
        <p:spPr>
          <a:xfrm>
            <a:off x="5996256" y="6250064"/>
            <a:ext cx="244475" cy="2444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hlinkClick r:id="rId11"/>
            <a:extLst>
              <a:ext uri="{FF2B5EF4-FFF2-40B4-BE49-F238E27FC236}">
                <a16:creationId xmlns:a16="http://schemas.microsoft.com/office/drawing/2014/main" id="{E2159F84-3B30-2ACC-50D0-4098358D58F3}"/>
              </a:ext>
            </a:extLst>
          </p:cNvPr>
          <p:cNvPicPr>
            <a:picLocks noChangeAspect="1"/>
          </p:cNvPicPr>
          <p:nvPr/>
        </p:nvPicPr>
        <p:blipFill>
          <a:blip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96256" y="6250064"/>
            <a:ext cx="244475" cy="24447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6C501EF-D3F3-F26E-34B0-5FF197E4DC51}"/>
              </a:ext>
            </a:extLst>
          </p:cNvPr>
          <p:cNvSpPr/>
          <p:nvPr/>
        </p:nvSpPr>
        <p:spPr>
          <a:xfrm>
            <a:off x="6396923" y="6250061"/>
            <a:ext cx="244475" cy="2444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phic 21">
            <a:hlinkClick r:id="rId13"/>
            <a:extLst>
              <a:ext uri="{FF2B5EF4-FFF2-40B4-BE49-F238E27FC236}">
                <a16:creationId xmlns:a16="http://schemas.microsoft.com/office/drawing/2014/main" id="{14DDF214-1F64-81B2-0073-D7330E4C55C0}"/>
              </a:ext>
            </a:extLst>
          </p:cNvPr>
          <p:cNvPicPr>
            <a:picLocks noChangeAspect="1"/>
          </p:cNvPicPr>
          <p:nvPr/>
        </p:nvPicPr>
        <p:blipFill>
          <a:blip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396923" y="6250064"/>
            <a:ext cx="244475" cy="244475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DF5CD8-9117-9E80-4979-B467277D1D3B}"/>
              </a:ext>
            </a:extLst>
          </p:cNvPr>
          <p:cNvCxnSpPr>
            <a:cxnSpLocks/>
          </p:cNvCxnSpPr>
          <p:nvPr/>
        </p:nvCxnSpPr>
        <p:spPr>
          <a:xfrm>
            <a:off x="0" y="6378118"/>
            <a:ext cx="4940300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B52560C-E9CB-F026-70E9-EA0525A95FB9}"/>
              </a:ext>
            </a:extLst>
          </p:cNvPr>
          <p:cNvCxnSpPr>
            <a:cxnSpLocks/>
          </p:cNvCxnSpPr>
          <p:nvPr/>
        </p:nvCxnSpPr>
        <p:spPr>
          <a:xfrm>
            <a:off x="7195998" y="6378118"/>
            <a:ext cx="499600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6">
            <a:extLst>
              <a:ext uri="{FF2B5EF4-FFF2-40B4-BE49-F238E27FC236}">
                <a16:creationId xmlns:a16="http://schemas.microsoft.com/office/drawing/2014/main" id="{4405A17F-A515-E9C1-5671-3172AA552672}"/>
              </a:ext>
            </a:extLst>
          </p:cNvPr>
          <p:cNvSpPr txBox="1">
            <a:spLocks/>
          </p:cNvSpPr>
          <p:nvPr/>
        </p:nvSpPr>
        <p:spPr>
          <a:xfrm>
            <a:off x="10556224" y="6486382"/>
            <a:ext cx="1000718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8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© 2024 Birlasoft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1D13F061-2F44-F1E6-CE9A-90790B3AFF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844" y="3466142"/>
            <a:ext cx="5425156" cy="1055060"/>
          </a:xfrm>
          <a:prstGeom prst="rect">
            <a:avLst/>
          </a:prstGeom>
        </p:spPr>
        <p:txBody>
          <a:bodyPr/>
          <a:lstStyle>
            <a:lvl1pPr>
              <a:defRPr sz="7200" b="1">
                <a:solidFill>
                  <a:schemeClr val="bg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48DB124B-4A26-FF5B-18D9-4F14551712E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127538">
            <a:off x="9208229" y="690377"/>
            <a:ext cx="1786655" cy="1659147"/>
          </a:xfrm>
          <a:prstGeom prst="rect">
            <a:avLst/>
          </a:prstGeom>
          <a:effectLst>
            <a:outerShdw blurRad="558800" dist="241300" dir="6000000" sx="97000" sy="97000" algn="ctr" rotWithShape="0">
              <a:srgbClr val="000000">
                <a:alpha val="7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251084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light, night sky&#10;&#10;Description automatically generated">
            <a:extLst>
              <a:ext uri="{FF2B5EF4-FFF2-40B4-BE49-F238E27FC236}">
                <a16:creationId xmlns:a16="http://schemas.microsoft.com/office/drawing/2014/main" id="{05966F19-0A1A-B064-5B78-A1D87D0B54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0826F71-C25C-FA6E-7FB3-E634F56F8F40}"/>
              </a:ext>
            </a:extLst>
          </p:cNvPr>
          <p:cNvCxnSpPr>
            <a:cxnSpLocks/>
          </p:cNvCxnSpPr>
          <p:nvPr userDrawn="1"/>
        </p:nvCxnSpPr>
        <p:spPr>
          <a:xfrm>
            <a:off x="670844" y="6378118"/>
            <a:ext cx="1111794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Shape, arrow&#10;&#10;Description automatically generated">
            <a:extLst>
              <a:ext uri="{FF2B5EF4-FFF2-40B4-BE49-F238E27FC236}">
                <a16:creationId xmlns:a16="http://schemas.microsoft.com/office/drawing/2014/main" id="{CFD0F692-73F0-1384-7A5B-0F97F4BED1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27538">
            <a:off x="10825146" y="6187013"/>
            <a:ext cx="462875" cy="429841"/>
          </a:xfrm>
          <a:prstGeom prst="rect">
            <a:avLst/>
          </a:prstGeom>
          <a:effectLst>
            <a:outerShdw blurRad="558800" dist="241300" dir="6000000" sx="97000" sy="97000" algn="ctr" rotWithShape="0">
              <a:srgbClr val="000000">
                <a:alpha val="73000"/>
              </a:srgb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5E98B05-28E9-B1E0-6ABE-CF81B86F7BB5}"/>
              </a:ext>
            </a:extLst>
          </p:cNvPr>
          <p:cNvSpPr/>
          <p:nvPr userDrawn="1"/>
        </p:nvSpPr>
        <p:spPr>
          <a:xfrm>
            <a:off x="403214" y="6228730"/>
            <a:ext cx="356713" cy="629269"/>
          </a:xfrm>
          <a:prstGeom prst="rect">
            <a:avLst/>
          </a:prstGeom>
          <a:solidFill>
            <a:srgbClr val="C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BC0957F-6F3D-FD2D-EE54-83CE059A4A06}"/>
              </a:ext>
            </a:extLst>
          </p:cNvPr>
          <p:cNvSpPr txBox="1">
            <a:spLocks/>
          </p:cNvSpPr>
          <p:nvPr userDrawn="1"/>
        </p:nvSpPr>
        <p:spPr>
          <a:xfrm>
            <a:off x="424906" y="6461803"/>
            <a:ext cx="316549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C1CC88B-8153-4770-B0DF-840C5C37FBC3}" type="slidenum">
              <a:rPr lang="en-IN" sz="900" smtClean="0">
                <a:solidFill>
                  <a:schemeClr val="bg1"/>
                </a:solidFill>
                <a:latin typeface="+mn-lt"/>
              </a:rPr>
              <a:pPr algn="ctr"/>
              <a:t>‹#›</a:t>
            </a:fld>
            <a:endParaRPr lang="en-IN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71C3DC96-F067-F10B-83DC-AD753CB047A9}"/>
              </a:ext>
            </a:extLst>
          </p:cNvPr>
          <p:cNvSpPr txBox="1">
            <a:spLocks/>
          </p:cNvSpPr>
          <p:nvPr userDrawn="1"/>
        </p:nvSpPr>
        <p:spPr>
          <a:xfrm>
            <a:off x="10556224" y="6486382"/>
            <a:ext cx="1000718" cy="22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63" rtl="0" eaLnBrk="1" latinLnBrk="0" hangingPunct="1">
              <a:defRPr lang="en-US" sz="8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70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© 2024 Birlasoft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74A1FA3-0156-BEE0-48E2-2B4F35A50EDF}"/>
              </a:ext>
            </a:extLst>
          </p:cNvPr>
          <p:cNvSpPr txBox="1">
            <a:spLocks/>
          </p:cNvSpPr>
          <p:nvPr userDrawn="1"/>
        </p:nvSpPr>
        <p:spPr>
          <a:xfrm>
            <a:off x="1063841" y="6484983"/>
            <a:ext cx="695326" cy="2326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BEF598-DD41-4849-8A14-1B5F91BEB9F1}" type="datetime1">
              <a:rPr lang="en-US" sz="700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pPr/>
              <a:t>5/25/2026</a:t>
            </a:fld>
            <a:endParaRPr lang="en-US" sz="70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289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image" Target="../media/image19.sv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C43CA5E-6E24-7B0C-5A59-9647B2892A5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2700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IN" sz="1000">
                <a:solidFill>
                  <a:srgbClr val="0000FF">
                    <a:alpha val="50000"/>
                  </a:srgbClr>
                </a:solidFill>
                <a:latin typeface="Aptos" panose="020B0004020202020204" pitchFamily="34" charset="0"/>
              </a:rPr>
              <a:t>Classification: Internal</a:t>
            </a:r>
          </a:p>
        </p:txBody>
      </p:sp>
    </p:spTree>
    <p:extLst>
      <p:ext uri="{BB962C8B-B14F-4D97-AF65-F5344CB8AC3E}">
        <p14:creationId xmlns:p14="http://schemas.microsoft.com/office/powerpoint/2010/main" val="2800013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EAFC4C-09F7-8B56-05F2-DD447F91FC97}"/>
              </a:ext>
            </a:extLst>
          </p:cNvPr>
          <p:cNvSpPr txBox="1"/>
          <p:nvPr/>
        </p:nvSpPr>
        <p:spPr>
          <a:xfrm>
            <a:off x="897924" y="6503238"/>
            <a:ext cx="275143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17EF4CE4-A8A3-481A-B296-A2596A7C05E0}" type="datetime1">
              <a:rPr lang="en-US" sz="7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/25/2026</a:t>
            </a:fld>
            <a:endParaRPr lang="en-US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DA73E19A-856B-8B17-2B91-840CD1CAD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8" y="225425"/>
            <a:ext cx="11591925" cy="608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00EBEF8-0C76-E9A9-F9A4-97E6BDF2FB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0040" y="981077"/>
            <a:ext cx="11591924" cy="5186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F3D45D-A8A1-7F0A-D199-A748D0C350FD}"/>
              </a:ext>
            </a:extLst>
          </p:cNvPr>
          <p:cNvCxnSpPr>
            <a:cxnSpLocks/>
          </p:cNvCxnSpPr>
          <p:nvPr/>
        </p:nvCxnSpPr>
        <p:spPr>
          <a:xfrm>
            <a:off x="670844" y="6378118"/>
            <a:ext cx="1111794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F337802-4D88-1BE8-F6C5-5728D85FBB1D}"/>
              </a:ext>
            </a:extLst>
          </p:cNvPr>
          <p:cNvSpPr/>
          <p:nvPr/>
        </p:nvSpPr>
        <p:spPr>
          <a:xfrm>
            <a:off x="403214" y="6228730"/>
            <a:ext cx="356713" cy="629269"/>
          </a:xfrm>
          <a:prstGeom prst="rect">
            <a:avLst/>
          </a:prstGeom>
          <a:solidFill>
            <a:srgbClr val="C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8E2934-B985-4404-2EBC-3F33DB478AF5}"/>
              </a:ext>
            </a:extLst>
          </p:cNvPr>
          <p:cNvSpPr txBox="1"/>
          <p:nvPr/>
        </p:nvSpPr>
        <p:spPr>
          <a:xfrm>
            <a:off x="10556224" y="6495000"/>
            <a:ext cx="99060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700"/>
              <a:t>© 2025 Birlasof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A6702A-9568-C8C3-8120-1984A94F0925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653129" y="6329897"/>
            <a:ext cx="398395" cy="9644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376B6D0-029D-14B0-F67B-4BEE0B6CF97D}"/>
              </a:ext>
            </a:extLst>
          </p:cNvPr>
          <p:cNvSpPr txBox="1"/>
          <p:nvPr/>
        </p:nvSpPr>
        <p:spPr>
          <a:xfrm>
            <a:off x="409546" y="6495000"/>
            <a:ext cx="3503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FF1AC436-1104-41D8-9946-415B951CA9AA}" type="slidenum">
              <a:rPr lang="en-US" sz="900" smtClean="0">
                <a:solidFill>
                  <a:schemeClr val="bg1"/>
                </a:solidFill>
              </a:rPr>
              <a:pPr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54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  <p:sldLayoutId id="2147483902" r:id="rId20"/>
    <p:sldLayoutId id="2147483903" r:id="rId21"/>
    <p:sldLayoutId id="2147483904" r:id="rId22"/>
    <p:sldLayoutId id="2147483906" r:id="rId23"/>
    <p:sldLayoutId id="2147483907" r:id="rId24"/>
    <p:sldLayoutId id="2147483908" r:id="rId25"/>
    <p:sldLayoutId id="2147483909" r:id="rId26"/>
    <p:sldLayoutId id="2147483910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9" Type="http://schemas.openxmlformats.org/officeDocument/2006/relationships/image" Target="../media/image60.png"/><Relationship Id="rId21" Type="http://schemas.openxmlformats.org/officeDocument/2006/relationships/image" Target="../media/image42.png"/><Relationship Id="rId34" Type="http://schemas.openxmlformats.org/officeDocument/2006/relationships/image" Target="../media/image55.png"/><Relationship Id="rId42" Type="http://schemas.openxmlformats.org/officeDocument/2006/relationships/image" Target="../media/image63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29" Type="http://schemas.openxmlformats.org/officeDocument/2006/relationships/image" Target="../media/image50.png"/><Relationship Id="rId41" Type="http://schemas.openxmlformats.org/officeDocument/2006/relationships/image" Target="../media/image62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32" Type="http://schemas.openxmlformats.org/officeDocument/2006/relationships/image" Target="../media/image53.png"/><Relationship Id="rId37" Type="http://schemas.openxmlformats.org/officeDocument/2006/relationships/image" Target="../media/image58.png"/><Relationship Id="rId40" Type="http://schemas.openxmlformats.org/officeDocument/2006/relationships/image" Target="../media/image61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28" Type="http://schemas.openxmlformats.org/officeDocument/2006/relationships/image" Target="../media/image49.png"/><Relationship Id="rId36" Type="http://schemas.openxmlformats.org/officeDocument/2006/relationships/image" Target="../media/image57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31" Type="http://schemas.openxmlformats.org/officeDocument/2006/relationships/image" Target="../media/image52.png"/><Relationship Id="rId44" Type="http://schemas.openxmlformats.org/officeDocument/2006/relationships/image" Target="../media/image65.png"/><Relationship Id="rId4" Type="http://schemas.openxmlformats.org/officeDocument/2006/relationships/image" Target="../media/image25.sv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Relationship Id="rId27" Type="http://schemas.openxmlformats.org/officeDocument/2006/relationships/image" Target="../media/image48.png"/><Relationship Id="rId30" Type="http://schemas.openxmlformats.org/officeDocument/2006/relationships/image" Target="../media/image51.png"/><Relationship Id="rId35" Type="http://schemas.openxmlformats.org/officeDocument/2006/relationships/image" Target="../media/image56.png"/><Relationship Id="rId43" Type="http://schemas.openxmlformats.org/officeDocument/2006/relationships/image" Target="../media/image64.png"/><Relationship Id="rId8" Type="http://schemas.openxmlformats.org/officeDocument/2006/relationships/image" Target="../media/image29.png"/><Relationship Id="rId3" Type="http://schemas.openxmlformats.org/officeDocument/2006/relationships/image" Target="../media/image24.jpe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33" Type="http://schemas.openxmlformats.org/officeDocument/2006/relationships/image" Target="../media/image54.png"/><Relationship Id="rId38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6.png"/><Relationship Id="rId3" Type="http://schemas.openxmlformats.org/officeDocument/2006/relationships/image" Target="../media/image66.svg"/><Relationship Id="rId7" Type="http://schemas.openxmlformats.org/officeDocument/2006/relationships/image" Target="../media/image70.png"/><Relationship Id="rId12" Type="http://schemas.openxmlformats.org/officeDocument/2006/relationships/image" Target="../media/image7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79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5" Type="http://schemas.openxmlformats.org/officeDocument/2006/relationships/image" Target="../media/image78.sv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image" Target="../media/image7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772B87-C24F-015F-7DA9-7D0C997D47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Picture 80" descr="A close-up of a colorful light&#10;&#10;Description automatically generated">
            <a:extLst>
              <a:ext uri="{FF2B5EF4-FFF2-40B4-BE49-F238E27FC236}">
                <a16:creationId xmlns:a16="http://schemas.microsoft.com/office/drawing/2014/main" id="{E3801625-4C33-CC67-092E-252E914F58D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lum bright="70000" contrast="-70000"/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209" t="1780" r="4367" b="24575"/>
          <a:stretch/>
        </p:blipFill>
        <p:spPr>
          <a:xfrm>
            <a:off x="0" y="485137"/>
            <a:ext cx="12192000" cy="5869968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F66DC42-4F18-64D0-85E5-BE73DC4F0EE4}"/>
              </a:ext>
            </a:extLst>
          </p:cNvPr>
          <p:cNvSpPr/>
          <p:nvPr/>
        </p:nvSpPr>
        <p:spPr>
          <a:xfrm>
            <a:off x="339219" y="894275"/>
            <a:ext cx="1835640" cy="2183358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Agent</a:t>
            </a:r>
            <a:r>
              <a:rPr kumimoji="0" lang="en-IN" sz="1200" b="1" i="0" u="none" strike="noStrike" kern="1200" cap="none" spc="-1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eadiness</a:t>
            </a:r>
            <a:r>
              <a:rPr kumimoji="0" lang="en-IN" sz="1200" b="1" i="0" u="none" strike="noStrike" kern="1200" cap="none" spc="-5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&amp;</a:t>
            </a:r>
            <a:br>
              <a:rPr kumimoji="0" lang="en-IN" sz="1200" b="1" i="0" u="none" strike="noStrike" kern="1200" cap="none" spc="-1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</a:br>
            <a:r>
              <a:rPr kumimoji="0" lang="en-IN" sz="1200" b="1" i="0" u="none" strike="noStrike" kern="1200" cap="none" spc="-1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Enterprise Assessment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8277653-FB22-957D-2B9B-E41606CD84E6}"/>
              </a:ext>
            </a:extLst>
          </p:cNvPr>
          <p:cNvSpPr/>
          <p:nvPr/>
        </p:nvSpPr>
        <p:spPr>
          <a:xfrm>
            <a:off x="2275337" y="894275"/>
            <a:ext cx="1835640" cy="2183358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Low-Code, No-Code &amp; Pro-Code Agent 2 Platform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32695696-392E-F364-0F05-D8463C1D7196}"/>
              </a:ext>
            </a:extLst>
          </p:cNvPr>
          <p:cNvSpPr/>
          <p:nvPr/>
        </p:nvSpPr>
        <p:spPr>
          <a:xfrm>
            <a:off x="4211456" y="894275"/>
            <a:ext cx="1835640" cy="2183358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Enterprise Agent Orchestration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3EAE2422-92BD-B079-3E8D-BC791F67D483}"/>
              </a:ext>
            </a:extLst>
          </p:cNvPr>
          <p:cNvSpPr/>
          <p:nvPr/>
        </p:nvSpPr>
        <p:spPr>
          <a:xfrm>
            <a:off x="6147574" y="894275"/>
            <a:ext cx="1835640" cy="2183358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ognitive Data &amp; Knowledge Fusion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08E134AB-FF83-7505-3379-66805EE938A3}"/>
              </a:ext>
            </a:extLst>
          </p:cNvPr>
          <p:cNvSpPr/>
          <p:nvPr/>
        </p:nvSpPr>
        <p:spPr>
          <a:xfrm>
            <a:off x="8083693" y="894275"/>
            <a:ext cx="1835640" cy="2183358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Intelligent Business Process Automation</a:t>
            </a:r>
          </a:p>
        </p:txBody>
      </p:sp>
      <p:sp>
        <p:nvSpPr>
          <p:cNvPr id="496" name="Rectangle: Rounded Corners 495">
            <a:extLst>
              <a:ext uri="{FF2B5EF4-FFF2-40B4-BE49-F238E27FC236}">
                <a16:creationId xmlns:a16="http://schemas.microsoft.com/office/drawing/2014/main" id="{1ED76CA1-91A5-8CAA-4CAF-AA19DB1BB32E}"/>
              </a:ext>
            </a:extLst>
          </p:cNvPr>
          <p:cNvSpPr/>
          <p:nvPr/>
        </p:nvSpPr>
        <p:spPr>
          <a:xfrm>
            <a:off x="10019811" y="894275"/>
            <a:ext cx="1835640" cy="2183358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trategic AI Governance &amp; Scaling</a:t>
            </a:r>
          </a:p>
        </p:txBody>
      </p:sp>
      <p:sp>
        <p:nvSpPr>
          <p:cNvPr id="18" name="object 5">
            <a:extLst>
              <a:ext uri="{FF2B5EF4-FFF2-40B4-BE49-F238E27FC236}">
                <a16:creationId xmlns:a16="http://schemas.microsoft.com/office/drawing/2014/main" id="{35DFD26C-B420-6367-7414-2D0356A120D0}"/>
              </a:ext>
            </a:extLst>
          </p:cNvPr>
          <p:cNvSpPr/>
          <p:nvPr/>
        </p:nvSpPr>
        <p:spPr>
          <a:xfrm>
            <a:off x="428905" y="1538958"/>
            <a:ext cx="1656268" cy="407337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nterprise AI Maturity Scorecard</a:t>
            </a:r>
          </a:p>
        </p:txBody>
      </p:sp>
      <p:sp>
        <p:nvSpPr>
          <p:cNvPr id="39" name="object 5">
            <a:extLst>
              <a:ext uri="{FF2B5EF4-FFF2-40B4-BE49-F238E27FC236}">
                <a16:creationId xmlns:a16="http://schemas.microsoft.com/office/drawing/2014/main" id="{50F2FAF8-233B-3042-AFC8-511386B7E880}"/>
              </a:ext>
            </a:extLst>
          </p:cNvPr>
          <p:cNvSpPr/>
          <p:nvPr/>
        </p:nvSpPr>
        <p:spPr>
          <a:xfrm>
            <a:off x="2365023" y="1538958"/>
            <a:ext cx="1656268" cy="407337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isual Agent Designer</a:t>
            </a:r>
          </a:p>
        </p:txBody>
      </p:sp>
      <p:sp>
        <p:nvSpPr>
          <p:cNvPr id="48" name="object 5">
            <a:extLst>
              <a:ext uri="{FF2B5EF4-FFF2-40B4-BE49-F238E27FC236}">
                <a16:creationId xmlns:a16="http://schemas.microsoft.com/office/drawing/2014/main" id="{5461D3C9-7B6B-57C6-AE6F-076A676F6A23}"/>
              </a:ext>
            </a:extLst>
          </p:cNvPr>
          <p:cNvSpPr/>
          <p:nvPr/>
        </p:nvSpPr>
        <p:spPr>
          <a:xfrm>
            <a:off x="4301142" y="1538958"/>
            <a:ext cx="1656268" cy="407337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telligent Workflow Engine</a:t>
            </a:r>
          </a:p>
        </p:txBody>
      </p:sp>
      <p:sp>
        <p:nvSpPr>
          <p:cNvPr id="53" name="object 5">
            <a:extLst>
              <a:ext uri="{FF2B5EF4-FFF2-40B4-BE49-F238E27FC236}">
                <a16:creationId xmlns:a16="http://schemas.microsoft.com/office/drawing/2014/main" id="{6E502966-4FF7-D9A4-E024-4F42EA5AB182}"/>
              </a:ext>
            </a:extLst>
          </p:cNvPr>
          <p:cNvSpPr/>
          <p:nvPr/>
        </p:nvSpPr>
        <p:spPr>
          <a:xfrm>
            <a:off x="6237260" y="1538958"/>
            <a:ext cx="1656268" cy="407337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telligent Data Harmonization</a:t>
            </a:r>
          </a:p>
        </p:txBody>
      </p:sp>
      <p:sp>
        <p:nvSpPr>
          <p:cNvPr id="58" name="object 5">
            <a:extLst>
              <a:ext uri="{FF2B5EF4-FFF2-40B4-BE49-F238E27FC236}">
                <a16:creationId xmlns:a16="http://schemas.microsoft.com/office/drawing/2014/main" id="{B6C62381-E2E8-238A-B741-0423B1304272}"/>
              </a:ext>
            </a:extLst>
          </p:cNvPr>
          <p:cNvSpPr/>
          <p:nvPr/>
        </p:nvSpPr>
        <p:spPr>
          <a:xfrm>
            <a:off x="8173379" y="1538958"/>
            <a:ext cx="1656268" cy="407337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ocess Discovery &amp; Mining</a:t>
            </a:r>
          </a:p>
        </p:txBody>
      </p:sp>
      <p:sp>
        <p:nvSpPr>
          <p:cNvPr id="497" name="object 5">
            <a:extLst>
              <a:ext uri="{FF2B5EF4-FFF2-40B4-BE49-F238E27FC236}">
                <a16:creationId xmlns:a16="http://schemas.microsoft.com/office/drawing/2014/main" id="{0452D777-2B1D-F8CF-29A5-9B0B0988B507}"/>
              </a:ext>
            </a:extLst>
          </p:cNvPr>
          <p:cNvSpPr/>
          <p:nvPr/>
        </p:nvSpPr>
        <p:spPr>
          <a:xfrm>
            <a:off x="10109497" y="1538958"/>
            <a:ext cx="1656268" cy="407337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I Ethics &amp; Compliance Framework</a:t>
            </a:r>
          </a:p>
        </p:txBody>
      </p:sp>
      <p:sp>
        <p:nvSpPr>
          <p:cNvPr id="504" name="object 5">
            <a:extLst>
              <a:ext uri="{FF2B5EF4-FFF2-40B4-BE49-F238E27FC236}">
                <a16:creationId xmlns:a16="http://schemas.microsoft.com/office/drawing/2014/main" id="{1672AC26-46BC-88FA-F57C-CF908B503B95}"/>
              </a:ext>
            </a:extLst>
          </p:cNvPr>
          <p:cNvSpPr/>
          <p:nvPr/>
        </p:nvSpPr>
        <p:spPr>
          <a:xfrm>
            <a:off x="428905" y="2048659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 Case Prioritization Matrix</a:t>
            </a:r>
          </a:p>
        </p:txBody>
      </p:sp>
      <p:sp>
        <p:nvSpPr>
          <p:cNvPr id="505" name="object 5">
            <a:extLst>
              <a:ext uri="{FF2B5EF4-FFF2-40B4-BE49-F238E27FC236}">
                <a16:creationId xmlns:a16="http://schemas.microsoft.com/office/drawing/2014/main" id="{767DFE7A-35BD-4390-D238-599A6D9F77CB}"/>
              </a:ext>
            </a:extLst>
          </p:cNvPr>
          <p:cNvSpPr/>
          <p:nvPr/>
        </p:nvSpPr>
        <p:spPr>
          <a:xfrm>
            <a:off x="2365023" y="2048659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dustry Agent Library</a:t>
            </a:r>
          </a:p>
        </p:txBody>
      </p:sp>
      <p:sp>
        <p:nvSpPr>
          <p:cNvPr id="506" name="object 5">
            <a:extLst>
              <a:ext uri="{FF2B5EF4-FFF2-40B4-BE49-F238E27FC236}">
                <a16:creationId xmlns:a16="http://schemas.microsoft.com/office/drawing/2014/main" id="{D5781A5E-3F91-0158-7AFF-C47D58CE7A70}"/>
              </a:ext>
            </a:extLst>
          </p:cNvPr>
          <p:cNvSpPr/>
          <p:nvPr/>
        </p:nvSpPr>
        <p:spPr>
          <a:xfrm>
            <a:off x="4301142" y="2048659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egacy System Integration</a:t>
            </a:r>
          </a:p>
        </p:txBody>
      </p:sp>
      <p:sp>
        <p:nvSpPr>
          <p:cNvPr id="507" name="object 5">
            <a:extLst>
              <a:ext uri="{FF2B5EF4-FFF2-40B4-BE49-F238E27FC236}">
                <a16:creationId xmlns:a16="http://schemas.microsoft.com/office/drawing/2014/main" id="{A1884686-8BC2-44B5-2AE3-B98EA0B7068E}"/>
              </a:ext>
            </a:extLst>
          </p:cNvPr>
          <p:cNvSpPr/>
          <p:nvPr/>
        </p:nvSpPr>
        <p:spPr>
          <a:xfrm>
            <a:off x="6237260" y="2048659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ntextual Knowledge Mining</a:t>
            </a:r>
          </a:p>
        </p:txBody>
      </p:sp>
      <p:sp>
        <p:nvSpPr>
          <p:cNvPr id="508" name="object 5">
            <a:extLst>
              <a:ext uri="{FF2B5EF4-FFF2-40B4-BE49-F238E27FC236}">
                <a16:creationId xmlns:a16="http://schemas.microsoft.com/office/drawing/2014/main" id="{9637DF91-26E1-7A55-0A7E-176C9CFE53B7}"/>
              </a:ext>
            </a:extLst>
          </p:cNvPr>
          <p:cNvSpPr/>
          <p:nvPr/>
        </p:nvSpPr>
        <p:spPr>
          <a:xfrm>
            <a:off x="8173379" y="2048659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telligent RPA Enhancement</a:t>
            </a:r>
          </a:p>
        </p:txBody>
      </p:sp>
      <p:sp>
        <p:nvSpPr>
          <p:cNvPr id="509" name="object 5">
            <a:extLst>
              <a:ext uri="{FF2B5EF4-FFF2-40B4-BE49-F238E27FC236}">
                <a16:creationId xmlns:a16="http://schemas.microsoft.com/office/drawing/2014/main" id="{35DA1D64-B85F-F203-2C25-A528598011B0}"/>
              </a:ext>
            </a:extLst>
          </p:cNvPr>
          <p:cNvSpPr/>
          <p:nvPr/>
        </p:nvSpPr>
        <p:spPr>
          <a:xfrm>
            <a:off x="10109497" y="2048659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OI Tracking &amp; Portfolio Management</a:t>
            </a:r>
          </a:p>
        </p:txBody>
      </p:sp>
      <p:sp>
        <p:nvSpPr>
          <p:cNvPr id="511" name="object 5">
            <a:extLst>
              <a:ext uri="{FF2B5EF4-FFF2-40B4-BE49-F238E27FC236}">
                <a16:creationId xmlns:a16="http://schemas.microsoft.com/office/drawing/2014/main" id="{AED96354-38BB-9541-9B52-4DCA42196536}"/>
              </a:ext>
            </a:extLst>
          </p:cNvPr>
          <p:cNvSpPr/>
          <p:nvPr/>
        </p:nvSpPr>
        <p:spPr>
          <a:xfrm>
            <a:off x="428905" y="2558811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apid Pilot Strategy</a:t>
            </a:r>
          </a:p>
        </p:txBody>
      </p:sp>
      <p:sp>
        <p:nvSpPr>
          <p:cNvPr id="65" name="object 5">
            <a:extLst>
              <a:ext uri="{FF2B5EF4-FFF2-40B4-BE49-F238E27FC236}">
                <a16:creationId xmlns:a16="http://schemas.microsoft.com/office/drawing/2014/main" id="{F7B0C376-8F67-0951-AAEF-16314D619241}"/>
              </a:ext>
            </a:extLst>
          </p:cNvPr>
          <p:cNvSpPr/>
          <p:nvPr/>
        </p:nvSpPr>
        <p:spPr>
          <a:xfrm>
            <a:off x="2365023" y="2558811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nterprise Security Framework</a:t>
            </a:r>
          </a:p>
        </p:txBody>
      </p:sp>
      <p:sp>
        <p:nvSpPr>
          <p:cNvPr id="69" name="object 5">
            <a:extLst>
              <a:ext uri="{FF2B5EF4-FFF2-40B4-BE49-F238E27FC236}">
                <a16:creationId xmlns:a16="http://schemas.microsoft.com/office/drawing/2014/main" id="{F5B8BB50-E1EC-211A-EBD3-3F051EB92ED8}"/>
              </a:ext>
            </a:extLst>
          </p:cNvPr>
          <p:cNvSpPr/>
          <p:nvPr/>
        </p:nvSpPr>
        <p:spPr>
          <a:xfrm>
            <a:off x="4301142" y="2558811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eal-time Performance Analytics</a:t>
            </a:r>
          </a:p>
        </p:txBody>
      </p:sp>
      <p:sp>
        <p:nvSpPr>
          <p:cNvPr id="74" name="object 5">
            <a:extLst>
              <a:ext uri="{FF2B5EF4-FFF2-40B4-BE49-F238E27FC236}">
                <a16:creationId xmlns:a16="http://schemas.microsoft.com/office/drawing/2014/main" id="{97719F1E-5495-40B3-BE4D-0FD662602CFC}"/>
              </a:ext>
            </a:extLst>
          </p:cNvPr>
          <p:cNvSpPr/>
          <p:nvPr/>
        </p:nvSpPr>
        <p:spPr>
          <a:xfrm>
            <a:off x="6237260" y="2558811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edictive Decision Support</a:t>
            </a:r>
          </a:p>
        </p:txBody>
      </p:sp>
      <p:sp>
        <p:nvSpPr>
          <p:cNvPr id="75" name="object 5">
            <a:extLst>
              <a:ext uri="{FF2B5EF4-FFF2-40B4-BE49-F238E27FC236}">
                <a16:creationId xmlns:a16="http://schemas.microsoft.com/office/drawing/2014/main" id="{2F3769CA-C9E1-86E6-ACBC-DB106F1195FD}"/>
              </a:ext>
            </a:extLst>
          </p:cNvPr>
          <p:cNvSpPr/>
          <p:nvPr/>
        </p:nvSpPr>
        <p:spPr>
          <a:xfrm>
            <a:off x="8173379" y="2558811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usiness Rules Engine</a:t>
            </a:r>
          </a:p>
        </p:txBody>
      </p:sp>
      <p:sp>
        <p:nvSpPr>
          <p:cNvPr id="76" name="object 5">
            <a:extLst>
              <a:ext uri="{FF2B5EF4-FFF2-40B4-BE49-F238E27FC236}">
                <a16:creationId xmlns:a16="http://schemas.microsoft.com/office/drawing/2014/main" id="{74C23AB3-4BC4-EF91-DD4E-05FC99EBE29C}"/>
              </a:ext>
            </a:extLst>
          </p:cNvPr>
          <p:cNvSpPr/>
          <p:nvPr/>
        </p:nvSpPr>
        <p:spPr>
          <a:xfrm>
            <a:off x="10109497" y="2558811"/>
            <a:ext cx="1656268" cy="407789"/>
          </a:xfrm>
          <a:custGeom>
            <a:avLst/>
            <a:gdLst/>
            <a:ahLst/>
            <a:cxnLst/>
            <a:rect l="l" t="t" r="r" b="b"/>
            <a:pathLst>
              <a:path w="1866900" h="438150">
                <a:moveTo>
                  <a:pt x="0" y="403225"/>
                </a:moveTo>
                <a:lnTo>
                  <a:pt x="0" y="34925"/>
                </a:lnTo>
                <a:lnTo>
                  <a:pt x="0" y="30293"/>
                </a:lnTo>
                <a:lnTo>
                  <a:pt x="886" y="25838"/>
                </a:lnTo>
                <a:lnTo>
                  <a:pt x="2658" y="21559"/>
                </a:lnTo>
                <a:lnTo>
                  <a:pt x="4430" y="17280"/>
                </a:lnTo>
                <a:lnTo>
                  <a:pt x="6954" y="13504"/>
                </a:lnTo>
                <a:lnTo>
                  <a:pt x="10229" y="10229"/>
                </a:lnTo>
                <a:lnTo>
                  <a:pt x="13504" y="6954"/>
                </a:lnTo>
                <a:lnTo>
                  <a:pt x="17280" y="4430"/>
                </a:lnTo>
                <a:lnTo>
                  <a:pt x="21559" y="2658"/>
                </a:lnTo>
                <a:lnTo>
                  <a:pt x="25838" y="886"/>
                </a:lnTo>
                <a:lnTo>
                  <a:pt x="30293" y="0"/>
                </a:lnTo>
                <a:lnTo>
                  <a:pt x="34925" y="0"/>
                </a:lnTo>
                <a:lnTo>
                  <a:pt x="1831975" y="0"/>
                </a:lnTo>
                <a:lnTo>
                  <a:pt x="1836606" y="0"/>
                </a:lnTo>
                <a:lnTo>
                  <a:pt x="1841061" y="886"/>
                </a:lnTo>
                <a:lnTo>
                  <a:pt x="1845340" y="2658"/>
                </a:lnTo>
                <a:lnTo>
                  <a:pt x="1849618" y="4430"/>
                </a:lnTo>
                <a:lnTo>
                  <a:pt x="1853395" y="6954"/>
                </a:lnTo>
                <a:lnTo>
                  <a:pt x="1856670" y="10229"/>
                </a:lnTo>
                <a:lnTo>
                  <a:pt x="1859945" y="13504"/>
                </a:lnTo>
                <a:lnTo>
                  <a:pt x="1862468" y="17280"/>
                </a:lnTo>
                <a:lnTo>
                  <a:pt x="1864241" y="21559"/>
                </a:lnTo>
                <a:lnTo>
                  <a:pt x="1866013" y="25838"/>
                </a:lnTo>
                <a:lnTo>
                  <a:pt x="1866900" y="30293"/>
                </a:lnTo>
                <a:lnTo>
                  <a:pt x="1866900" y="34925"/>
                </a:lnTo>
                <a:lnTo>
                  <a:pt x="1866900" y="403225"/>
                </a:lnTo>
                <a:lnTo>
                  <a:pt x="1866900" y="407856"/>
                </a:lnTo>
                <a:lnTo>
                  <a:pt x="1866013" y="412311"/>
                </a:lnTo>
                <a:lnTo>
                  <a:pt x="1864241" y="416590"/>
                </a:lnTo>
                <a:lnTo>
                  <a:pt x="1862468" y="420868"/>
                </a:lnTo>
                <a:lnTo>
                  <a:pt x="1845340" y="435491"/>
                </a:lnTo>
                <a:lnTo>
                  <a:pt x="1841061" y="437263"/>
                </a:lnTo>
                <a:lnTo>
                  <a:pt x="1836606" y="438150"/>
                </a:lnTo>
                <a:lnTo>
                  <a:pt x="1831975" y="438150"/>
                </a:lnTo>
                <a:lnTo>
                  <a:pt x="34925" y="438150"/>
                </a:lnTo>
                <a:lnTo>
                  <a:pt x="30293" y="438150"/>
                </a:lnTo>
                <a:lnTo>
                  <a:pt x="25838" y="437263"/>
                </a:lnTo>
                <a:lnTo>
                  <a:pt x="2658" y="416590"/>
                </a:lnTo>
                <a:lnTo>
                  <a:pt x="886" y="412311"/>
                </a:lnTo>
                <a:lnTo>
                  <a:pt x="0" y="407856"/>
                </a:lnTo>
                <a:lnTo>
                  <a:pt x="0" y="403225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84200" dist="304800" dir="5400000" sx="94000" sy="94000" algn="t" rotWithShape="0">
              <a:prstClr val="black">
                <a:alpha val="18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Global Scaling &amp; Change Managemen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C9CBC0E-9BEA-54AE-69C1-2639E915A4CE}"/>
              </a:ext>
            </a:extLst>
          </p:cNvPr>
          <p:cNvSpPr txBox="1"/>
          <p:nvPr/>
        </p:nvSpPr>
        <p:spPr>
          <a:xfrm>
            <a:off x="336550" y="563563"/>
            <a:ext cx="336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Capabilities &amp; Value for the Enterprise  </a:t>
            </a: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D12737C5-5086-ED4B-78C7-72DD868820CF}"/>
              </a:ext>
            </a:extLst>
          </p:cNvPr>
          <p:cNvSpPr/>
          <p:nvPr/>
        </p:nvSpPr>
        <p:spPr>
          <a:xfrm>
            <a:off x="5550790" y="3398003"/>
            <a:ext cx="6304660" cy="1567120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80" name="object 5">
            <a:extLst>
              <a:ext uri="{FF2B5EF4-FFF2-40B4-BE49-F238E27FC236}">
                <a16:creationId xmlns:a16="http://schemas.microsoft.com/office/drawing/2014/main" id="{32F29216-5A7B-40C8-E393-2D95C04C1A87}"/>
              </a:ext>
            </a:extLst>
          </p:cNvPr>
          <p:cNvSpPr/>
          <p:nvPr/>
        </p:nvSpPr>
        <p:spPr>
          <a:xfrm>
            <a:off x="5700027" y="3516236"/>
            <a:ext cx="2266031" cy="410400"/>
          </a:xfrm>
          <a:prstGeom prst="roundRect">
            <a:avLst>
              <a:gd name="adj" fmla="val 6815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ecutive AI Readiness Assess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0-day strategic roadmap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object 5">
            <a:extLst>
              <a:ext uri="{FF2B5EF4-FFF2-40B4-BE49-F238E27FC236}">
                <a16:creationId xmlns:a16="http://schemas.microsoft.com/office/drawing/2014/main" id="{95AE86B1-2A2D-B7F4-5743-945A1A89C422}"/>
              </a:ext>
            </a:extLst>
          </p:cNvPr>
          <p:cNvSpPr/>
          <p:nvPr/>
        </p:nvSpPr>
        <p:spPr>
          <a:xfrm>
            <a:off x="8105271" y="3516236"/>
            <a:ext cx="1582466" cy="410400"/>
          </a:xfrm>
          <a:prstGeom prst="roundRect">
            <a:avLst>
              <a:gd name="adj" fmla="val 4469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pid Value Pilot Progra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0-day proof of concept</a:t>
            </a:r>
          </a:p>
        </p:txBody>
      </p:sp>
      <p:sp>
        <p:nvSpPr>
          <p:cNvPr id="83" name="object 5">
            <a:extLst>
              <a:ext uri="{FF2B5EF4-FFF2-40B4-BE49-F238E27FC236}">
                <a16:creationId xmlns:a16="http://schemas.microsoft.com/office/drawing/2014/main" id="{839DB2FD-5894-386F-F091-00953E5A26CC}"/>
              </a:ext>
            </a:extLst>
          </p:cNvPr>
          <p:cNvSpPr/>
          <p:nvPr/>
        </p:nvSpPr>
        <p:spPr>
          <a:xfrm>
            <a:off x="9826949" y="3516236"/>
            <a:ext cx="1924248" cy="410400"/>
          </a:xfrm>
          <a:prstGeom prst="roundRect">
            <a:avLst>
              <a:gd name="adj" fmla="val 4938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terprise Agent Marketpla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certified industry agents</a:t>
            </a:r>
          </a:p>
        </p:txBody>
      </p:sp>
      <p:sp>
        <p:nvSpPr>
          <p:cNvPr id="84" name="object 5">
            <a:extLst>
              <a:ext uri="{FF2B5EF4-FFF2-40B4-BE49-F238E27FC236}">
                <a16:creationId xmlns:a16="http://schemas.microsoft.com/office/drawing/2014/main" id="{AFD37262-6325-746B-3D6A-3D942706336A}"/>
              </a:ext>
            </a:extLst>
          </p:cNvPr>
          <p:cNvSpPr/>
          <p:nvPr/>
        </p:nvSpPr>
        <p:spPr>
          <a:xfrm>
            <a:off x="5700028" y="4004247"/>
            <a:ext cx="1924248" cy="410400"/>
          </a:xfrm>
          <a:prstGeom prst="roundRect">
            <a:avLst>
              <a:gd name="adj" fmla="val 6346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d Agent Oper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/7 enterprise support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5" name="object 5">
            <a:extLst>
              <a:ext uri="{FF2B5EF4-FFF2-40B4-BE49-F238E27FC236}">
                <a16:creationId xmlns:a16="http://schemas.microsoft.com/office/drawing/2014/main" id="{114C9155-8CB2-0CC3-41B9-D2AE03CFADEB}"/>
              </a:ext>
            </a:extLst>
          </p:cNvPr>
          <p:cNvSpPr/>
          <p:nvPr/>
        </p:nvSpPr>
        <p:spPr>
          <a:xfrm>
            <a:off x="7773513" y="4004247"/>
            <a:ext cx="1914223" cy="410400"/>
          </a:xfrm>
          <a:prstGeom prst="roundRect">
            <a:avLst>
              <a:gd name="adj" fmla="val 6346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Outcome Guarante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k-sharing models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6" name="object 5">
            <a:extLst>
              <a:ext uri="{FF2B5EF4-FFF2-40B4-BE49-F238E27FC236}">
                <a16:creationId xmlns:a16="http://schemas.microsoft.com/office/drawing/2014/main" id="{5AE79E96-670A-E286-33F9-8E3AD1DB212D}"/>
              </a:ext>
            </a:extLst>
          </p:cNvPr>
          <p:cNvSpPr/>
          <p:nvPr/>
        </p:nvSpPr>
        <p:spPr>
          <a:xfrm>
            <a:off x="9826949" y="4004247"/>
            <a:ext cx="1924248" cy="410400"/>
          </a:xfrm>
          <a:prstGeom prst="roundRect">
            <a:avLst>
              <a:gd name="adj" fmla="val 4938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Management Excell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keholder adoption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object 5">
            <a:extLst>
              <a:ext uri="{FF2B5EF4-FFF2-40B4-BE49-F238E27FC236}">
                <a16:creationId xmlns:a16="http://schemas.microsoft.com/office/drawing/2014/main" id="{8893E8AF-1DFC-B752-B93B-A882356676E3}"/>
              </a:ext>
            </a:extLst>
          </p:cNvPr>
          <p:cNvSpPr/>
          <p:nvPr/>
        </p:nvSpPr>
        <p:spPr>
          <a:xfrm>
            <a:off x="5700027" y="4493858"/>
            <a:ext cx="6051169" cy="394455"/>
          </a:xfrm>
          <a:prstGeom prst="roundRect">
            <a:avLst>
              <a:gd name="adj" fmla="val 5877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uaranteed ROI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y-for-performance pricing with measurable business outcomes and risk mitigation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42FB8BD-9E9D-ADD4-E3CD-99A96FBF632B}"/>
              </a:ext>
            </a:extLst>
          </p:cNvPr>
          <p:cNvSpPr txBox="1"/>
          <p:nvPr/>
        </p:nvSpPr>
        <p:spPr>
          <a:xfrm>
            <a:off x="5479093" y="3065695"/>
            <a:ext cx="15557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ferings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5F59D160-062B-F41E-0B65-156A55741FC8}"/>
              </a:ext>
            </a:extLst>
          </p:cNvPr>
          <p:cNvSpPr/>
          <p:nvPr/>
        </p:nvSpPr>
        <p:spPr>
          <a:xfrm>
            <a:off x="336550" y="3398003"/>
            <a:ext cx="5078501" cy="1567120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64EAF397-ADD0-C2AC-B89A-D4E93DA9A9A5}"/>
              </a:ext>
            </a:extLst>
          </p:cNvPr>
          <p:cNvSpPr txBox="1"/>
          <p:nvPr/>
        </p:nvSpPr>
        <p:spPr>
          <a:xfrm>
            <a:off x="340894" y="3065695"/>
            <a:ext cx="15557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Accelerators</a:t>
            </a:r>
          </a:p>
        </p:txBody>
      </p: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5803F062-9007-A079-2550-EC5FBDE9ED85}"/>
              </a:ext>
            </a:extLst>
          </p:cNvPr>
          <p:cNvGrpSpPr/>
          <p:nvPr/>
        </p:nvGrpSpPr>
        <p:grpSpPr>
          <a:xfrm>
            <a:off x="1480799" y="3516238"/>
            <a:ext cx="3736495" cy="1284563"/>
            <a:chOff x="474962" y="3770235"/>
            <a:chExt cx="4727117" cy="1166203"/>
          </a:xfrm>
        </p:grpSpPr>
        <p:sp>
          <p:nvSpPr>
            <p:cNvPr id="91" name="object 5">
              <a:extLst>
                <a:ext uri="{FF2B5EF4-FFF2-40B4-BE49-F238E27FC236}">
                  <a16:creationId xmlns:a16="http://schemas.microsoft.com/office/drawing/2014/main" id="{77D6E046-023C-72D8-6888-47D0DDC59371}"/>
                </a:ext>
              </a:extLst>
            </p:cNvPr>
            <p:cNvSpPr/>
            <p:nvPr/>
          </p:nvSpPr>
          <p:spPr>
            <a:xfrm>
              <a:off x="474962" y="3770235"/>
              <a:ext cx="1503205" cy="526427"/>
            </a:xfrm>
            <a:custGeom>
              <a:avLst/>
              <a:gdLst/>
              <a:ahLst/>
              <a:cxnLst/>
              <a:rect l="l" t="t" r="r" b="b"/>
              <a:pathLst>
                <a:path w="1866900" h="438150">
                  <a:moveTo>
                    <a:pt x="0" y="403225"/>
                  </a:moveTo>
                  <a:lnTo>
                    <a:pt x="0" y="34925"/>
                  </a:lnTo>
                  <a:lnTo>
                    <a:pt x="0" y="30293"/>
                  </a:lnTo>
                  <a:lnTo>
                    <a:pt x="886" y="25838"/>
                  </a:lnTo>
                  <a:lnTo>
                    <a:pt x="2658" y="21559"/>
                  </a:lnTo>
                  <a:lnTo>
                    <a:pt x="4430" y="17280"/>
                  </a:lnTo>
                  <a:lnTo>
                    <a:pt x="6954" y="13504"/>
                  </a:lnTo>
                  <a:lnTo>
                    <a:pt x="10229" y="10229"/>
                  </a:lnTo>
                  <a:lnTo>
                    <a:pt x="13504" y="6954"/>
                  </a:lnTo>
                  <a:lnTo>
                    <a:pt x="17280" y="4430"/>
                  </a:lnTo>
                  <a:lnTo>
                    <a:pt x="21559" y="2658"/>
                  </a:lnTo>
                  <a:lnTo>
                    <a:pt x="25838" y="886"/>
                  </a:lnTo>
                  <a:lnTo>
                    <a:pt x="30293" y="0"/>
                  </a:lnTo>
                  <a:lnTo>
                    <a:pt x="34925" y="0"/>
                  </a:lnTo>
                  <a:lnTo>
                    <a:pt x="1831975" y="0"/>
                  </a:lnTo>
                  <a:lnTo>
                    <a:pt x="1836606" y="0"/>
                  </a:lnTo>
                  <a:lnTo>
                    <a:pt x="1841061" y="886"/>
                  </a:lnTo>
                  <a:lnTo>
                    <a:pt x="1845340" y="2658"/>
                  </a:lnTo>
                  <a:lnTo>
                    <a:pt x="1849618" y="4430"/>
                  </a:lnTo>
                  <a:lnTo>
                    <a:pt x="1853395" y="6954"/>
                  </a:lnTo>
                  <a:lnTo>
                    <a:pt x="1856670" y="10229"/>
                  </a:lnTo>
                  <a:lnTo>
                    <a:pt x="1859945" y="13504"/>
                  </a:lnTo>
                  <a:lnTo>
                    <a:pt x="1862468" y="17280"/>
                  </a:lnTo>
                  <a:lnTo>
                    <a:pt x="1864241" y="21559"/>
                  </a:lnTo>
                  <a:lnTo>
                    <a:pt x="1866013" y="25838"/>
                  </a:lnTo>
                  <a:lnTo>
                    <a:pt x="1866900" y="30293"/>
                  </a:lnTo>
                  <a:lnTo>
                    <a:pt x="1866900" y="34925"/>
                  </a:lnTo>
                  <a:lnTo>
                    <a:pt x="1866900" y="403225"/>
                  </a:lnTo>
                  <a:lnTo>
                    <a:pt x="1866900" y="407856"/>
                  </a:lnTo>
                  <a:lnTo>
                    <a:pt x="1866013" y="412311"/>
                  </a:lnTo>
                  <a:lnTo>
                    <a:pt x="1864241" y="416590"/>
                  </a:lnTo>
                  <a:lnTo>
                    <a:pt x="1862468" y="420868"/>
                  </a:lnTo>
                  <a:lnTo>
                    <a:pt x="1845340" y="435491"/>
                  </a:lnTo>
                  <a:lnTo>
                    <a:pt x="1841061" y="437263"/>
                  </a:lnTo>
                  <a:lnTo>
                    <a:pt x="1836606" y="438150"/>
                  </a:lnTo>
                  <a:lnTo>
                    <a:pt x="1831975" y="438150"/>
                  </a:lnTo>
                  <a:lnTo>
                    <a:pt x="34925" y="438150"/>
                  </a:lnTo>
                  <a:lnTo>
                    <a:pt x="30293" y="438150"/>
                  </a:lnTo>
                  <a:lnTo>
                    <a:pt x="25838" y="437263"/>
                  </a:lnTo>
                  <a:lnTo>
                    <a:pt x="2658" y="416590"/>
                  </a:lnTo>
                  <a:lnTo>
                    <a:pt x="886" y="412311"/>
                  </a:lnTo>
                  <a:lnTo>
                    <a:pt x="0" y="407856"/>
                  </a:lnTo>
                  <a:lnTo>
                    <a:pt x="0" y="403225"/>
                  </a:lnTo>
                  <a:close/>
                </a:path>
              </a:pathLst>
            </a:cu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72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-Code Studi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isual development platform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object 5">
              <a:extLst>
                <a:ext uri="{FF2B5EF4-FFF2-40B4-BE49-F238E27FC236}">
                  <a16:creationId xmlns:a16="http://schemas.microsoft.com/office/drawing/2014/main" id="{58AF25CE-9575-43B5-D0CA-746430291E91}"/>
                </a:ext>
              </a:extLst>
            </p:cNvPr>
            <p:cNvSpPr/>
            <p:nvPr/>
          </p:nvSpPr>
          <p:spPr>
            <a:xfrm>
              <a:off x="2086918" y="3770235"/>
              <a:ext cx="1503205" cy="526427"/>
            </a:xfrm>
            <a:custGeom>
              <a:avLst/>
              <a:gdLst/>
              <a:ahLst/>
              <a:cxnLst/>
              <a:rect l="l" t="t" r="r" b="b"/>
              <a:pathLst>
                <a:path w="1866900" h="438150">
                  <a:moveTo>
                    <a:pt x="0" y="403225"/>
                  </a:moveTo>
                  <a:lnTo>
                    <a:pt x="0" y="34925"/>
                  </a:lnTo>
                  <a:lnTo>
                    <a:pt x="0" y="30293"/>
                  </a:lnTo>
                  <a:lnTo>
                    <a:pt x="886" y="25838"/>
                  </a:lnTo>
                  <a:lnTo>
                    <a:pt x="2658" y="21559"/>
                  </a:lnTo>
                  <a:lnTo>
                    <a:pt x="4430" y="17280"/>
                  </a:lnTo>
                  <a:lnTo>
                    <a:pt x="6954" y="13504"/>
                  </a:lnTo>
                  <a:lnTo>
                    <a:pt x="10229" y="10229"/>
                  </a:lnTo>
                  <a:lnTo>
                    <a:pt x="13504" y="6954"/>
                  </a:lnTo>
                  <a:lnTo>
                    <a:pt x="17280" y="4430"/>
                  </a:lnTo>
                  <a:lnTo>
                    <a:pt x="21559" y="2658"/>
                  </a:lnTo>
                  <a:lnTo>
                    <a:pt x="25838" y="886"/>
                  </a:lnTo>
                  <a:lnTo>
                    <a:pt x="30293" y="0"/>
                  </a:lnTo>
                  <a:lnTo>
                    <a:pt x="34925" y="0"/>
                  </a:lnTo>
                  <a:lnTo>
                    <a:pt x="1831975" y="0"/>
                  </a:lnTo>
                  <a:lnTo>
                    <a:pt x="1836606" y="0"/>
                  </a:lnTo>
                  <a:lnTo>
                    <a:pt x="1841061" y="886"/>
                  </a:lnTo>
                  <a:lnTo>
                    <a:pt x="1845340" y="2658"/>
                  </a:lnTo>
                  <a:lnTo>
                    <a:pt x="1849618" y="4430"/>
                  </a:lnTo>
                  <a:lnTo>
                    <a:pt x="1853395" y="6954"/>
                  </a:lnTo>
                  <a:lnTo>
                    <a:pt x="1856670" y="10229"/>
                  </a:lnTo>
                  <a:lnTo>
                    <a:pt x="1859945" y="13504"/>
                  </a:lnTo>
                  <a:lnTo>
                    <a:pt x="1862468" y="17280"/>
                  </a:lnTo>
                  <a:lnTo>
                    <a:pt x="1864241" y="21559"/>
                  </a:lnTo>
                  <a:lnTo>
                    <a:pt x="1866013" y="25838"/>
                  </a:lnTo>
                  <a:lnTo>
                    <a:pt x="1866900" y="30293"/>
                  </a:lnTo>
                  <a:lnTo>
                    <a:pt x="1866900" y="34925"/>
                  </a:lnTo>
                  <a:lnTo>
                    <a:pt x="1866900" y="403225"/>
                  </a:lnTo>
                  <a:lnTo>
                    <a:pt x="1866900" y="407856"/>
                  </a:lnTo>
                  <a:lnTo>
                    <a:pt x="1866013" y="412311"/>
                  </a:lnTo>
                  <a:lnTo>
                    <a:pt x="1864241" y="416590"/>
                  </a:lnTo>
                  <a:lnTo>
                    <a:pt x="1862468" y="420868"/>
                  </a:lnTo>
                  <a:lnTo>
                    <a:pt x="1845340" y="435491"/>
                  </a:lnTo>
                  <a:lnTo>
                    <a:pt x="1841061" y="437263"/>
                  </a:lnTo>
                  <a:lnTo>
                    <a:pt x="1836606" y="438150"/>
                  </a:lnTo>
                  <a:lnTo>
                    <a:pt x="1831975" y="438150"/>
                  </a:lnTo>
                  <a:lnTo>
                    <a:pt x="34925" y="438150"/>
                  </a:lnTo>
                  <a:lnTo>
                    <a:pt x="30293" y="438150"/>
                  </a:lnTo>
                  <a:lnTo>
                    <a:pt x="25838" y="437263"/>
                  </a:lnTo>
                  <a:lnTo>
                    <a:pt x="2658" y="416590"/>
                  </a:lnTo>
                  <a:lnTo>
                    <a:pt x="886" y="412311"/>
                  </a:lnTo>
                  <a:lnTo>
                    <a:pt x="0" y="407856"/>
                  </a:lnTo>
                  <a:lnTo>
                    <a:pt x="0" y="403225"/>
                  </a:lnTo>
                  <a:close/>
                </a:path>
              </a:pathLst>
            </a:cu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72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gent Marketpla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+ pre-built solutions</a:t>
              </a:r>
            </a:p>
          </p:txBody>
        </p:sp>
        <p:sp>
          <p:nvSpPr>
            <p:cNvPr id="97" name="object 5">
              <a:extLst>
                <a:ext uri="{FF2B5EF4-FFF2-40B4-BE49-F238E27FC236}">
                  <a16:creationId xmlns:a16="http://schemas.microsoft.com/office/drawing/2014/main" id="{51CF351F-AD05-3BF7-06A6-DBB3D5F54494}"/>
                </a:ext>
              </a:extLst>
            </p:cNvPr>
            <p:cNvSpPr/>
            <p:nvPr/>
          </p:nvSpPr>
          <p:spPr>
            <a:xfrm>
              <a:off x="3698874" y="3770235"/>
              <a:ext cx="1503205" cy="526427"/>
            </a:xfrm>
            <a:custGeom>
              <a:avLst/>
              <a:gdLst/>
              <a:ahLst/>
              <a:cxnLst/>
              <a:rect l="l" t="t" r="r" b="b"/>
              <a:pathLst>
                <a:path w="1866900" h="438150">
                  <a:moveTo>
                    <a:pt x="0" y="403225"/>
                  </a:moveTo>
                  <a:lnTo>
                    <a:pt x="0" y="34925"/>
                  </a:lnTo>
                  <a:lnTo>
                    <a:pt x="0" y="30293"/>
                  </a:lnTo>
                  <a:lnTo>
                    <a:pt x="886" y="25838"/>
                  </a:lnTo>
                  <a:lnTo>
                    <a:pt x="2658" y="21559"/>
                  </a:lnTo>
                  <a:lnTo>
                    <a:pt x="4430" y="17280"/>
                  </a:lnTo>
                  <a:lnTo>
                    <a:pt x="6954" y="13504"/>
                  </a:lnTo>
                  <a:lnTo>
                    <a:pt x="10229" y="10229"/>
                  </a:lnTo>
                  <a:lnTo>
                    <a:pt x="13504" y="6954"/>
                  </a:lnTo>
                  <a:lnTo>
                    <a:pt x="17280" y="4430"/>
                  </a:lnTo>
                  <a:lnTo>
                    <a:pt x="21559" y="2658"/>
                  </a:lnTo>
                  <a:lnTo>
                    <a:pt x="25838" y="886"/>
                  </a:lnTo>
                  <a:lnTo>
                    <a:pt x="30293" y="0"/>
                  </a:lnTo>
                  <a:lnTo>
                    <a:pt x="34925" y="0"/>
                  </a:lnTo>
                  <a:lnTo>
                    <a:pt x="1831975" y="0"/>
                  </a:lnTo>
                  <a:lnTo>
                    <a:pt x="1836606" y="0"/>
                  </a:lnTo>
                  <a:lnTo>
                    <a:pt x="1841061" y="886"/>
                  </a:lnTo>
                  <a:lnTo>
                    <a:pt x="1845340" y="2658"/>
                  </a:lnTo>
                  <a:lnTo>
                    <a:pt x="1849618" y="4430"/>
                  </a:lnTo>
                  <a:lnTo>
                    <a:pt x="1853395" y="6954"/>
                  </a:lnTo>
                  <a:lnTo>
                    <a:pt x="1856670" y="10229"/>
                  </a:lnTo>
                  <a:lnTo>
                    <a:pt x="1859945" y="13504"/>
                  </a:lnTo>
                  <a:lnTo>
                    <a:pt x="1862468" y="17280"/>
                  </a:lnTo>
                  <a:lnTo>
                    <a:pt x="1864241" y="21559"/>
                  </a:lnTo>
                  <a:lnTo>
                    <a:pt x="1866013" y="25838"/>
                  </a:lnTo>
                  <a:lnTo>
                    <a:pt x="1866900" y="30293"/>
                  </a:lnTo>
                  <a:lnTo>
                    <a:pt x="1866900" y="34925"/>
                  </a:lnTo>
                  <a:lnTo>
                    <a:pt x="1866900" y="403225"/>
                  </a:lnTo>
                  <a:lnTo>
                    <a:pt x="1866900" y="407856"/>
                  </a:lnTo>
                  <a:lnTo>
                    <a:pt x="1866013" y="412311"/>
                  </a:lnTo>
                  <a:lnTo>
                    <a:pt x="1864241" y="416590"/>
                  </a:lnTo>
                  <a:lnTo>
                    <a:pt x="1862468" y="420868"/>
                  </a:lnTo>
                  <a:lnTo>
                    <a:pt x="1845340" y="435491"/>
                  </a:lnTo>
                  <a:lnTo>
                    <a:pt x="1841061" y="437263"/>
                  </a:lnTo>
                  <a:lnTo>
                    <a:pt x="1836606" y="438150"/>
                  </a:lnTo>
                  <a:lnTo>
                    <a:pt x="1831975" y="438150"/>
                  </a:lnTo>
                  <a:lnTo>
                    <a:pt x="34925" y="438150"/>
                  </a:lnTo>
                  <a:lnTo>
                    <a:pt x="30293" y="438150"/>
                  </a:lnTo>
                  <a:lnTo>
                    <a:pt x="25838" y="437263"/>
                  </a:lnTo>
                  <a:lnTo>
                    <a:pt x="2658" y="416590"/>
                  </a:lnTo>
                  <a:lnTo>
                    <a:pt x="886" y="412311"/>
                  </a:lnTo>
                  <a:lnTo>
                    <a:pt x="0" y="407856"/>
                  </a:lnTo>
                  <a:lnTo>
                    <a:pt x="0" y="403225"/>
                  </a:lnTo>
                  <a:close/>
                </a:path>
              </a:pathLst>
            </a:cu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72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enAI Observabili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60-degree monitoring</a:t>
              </a:r>
            </a:p>
          </p:txBody>
        </p:sp>
        <p:sp>
          <p:nvSpPr>
            <p:cNvPr id="101" name="object 5">
              <a:extLst>
                <a:ext uri="{FF2B5EF4-FFF2-40B4-BE49-F238E27FC236}">
                  <a16:creationId xmlns:a16="http://schemas.microsoft.com/office/drawing/2014/main" id="{B425FF8A-31B7-0F8C-AF11-331B475A536F}"/>
                </a:ext>
              </a:extLst>
            </p:cNvPr>
            <p:cNvSpPr/>
            <p:nvPr/>
          </p:nvSpPr>
          <p:spPr>
            <a:xfrm>
              <a:off x="474962" y="4410011"/>
              <a:ext cx="1503205" cy="526427"/>
            </a:xfrm>
            <a:custGeom>
              <a:avLst/>
              <a:gdLst/>
              <a:ahLst/>
              <a:cxnLst/>
              <a:rect l="l" t="t" r="r" b="b"/>
              <a:pathLst>
                <a:path w="1866900" h="438150">
                  <a:moveTo>
                    <a:pt x="0" y="403225"/>
                  </a:moveTo>
                  <a:lnTo>
                    <a:pt x="0" y="34925"/>
                  </a:lnTo>
                  <a:lnTo>
                    <a:pt x="0" y="30293"/>
                  </a:lnTo>
                  <a:lnTo>
                    <a:pt x="886" y="25838"/>
                  </a:lnTo>
                  <a:lnTo>
                    <a:pt x="2658" y="21559"/>
                  </a:lnTo>
                  <a:lnTo>
                    <a:pt x="4430" y="17280"/>
                  </a:lnTo>
                  <a:lnTo>
                    <a:pt x="6954" y="13504"/>
                  </a:lnTo>
                  <a:lnTo>
                    <a:pt x="10229" y="10229"/>
                  </a:lnTo>
                  <a:lnTo>
                    <a:pt x="13504" y="6954"/>
                  </a:lnTo>
                  <a:lnTo>
                    <a:pt x="17280" y="4430"/>
                  </a:lnTo>
                  <a:lnTo>
                    <a:pt x="21559" y="2658"/>
                  </a:lnTo>
                  <a:lnTo>
                    <a:pt x="25838" y="886"/>
                  </a:lnTo>
                  <a:lnTo>
                    <a:pt x="30293" y="0"/>
                  </a:lnTo>
                  <a:lnTo>
                    <a:pt x="34925" y="0"/>
                  </a:lnTo>
                  <a:lnTo>
                    <a:pt x="1831975" y="0"/>
                  </a:lnTo>
                  <a:lnTo>
                    <a:pt x="1836606" y="0"/>
                  </a:lnTo>
                  <a:lnTo>
                    <a:pt x="1841061" y="886"/>
                  </a:lnTo>
                  <a:lnTo>
                    <a:pt x="1845340" y="2658"/>
                  </a:lnTo>
                  <a:lnTo>
                    <a:pt x="1849618" y="4430"/>
                  </a:lnTo>
                  <a:lnTo>
                    <a:pt x="1853395" y="6954"/>
                  </a:lnTo>
                  <a:lnTo>
                    <a:pt x="1856670" y="10229"/>
                  </a:lnTo>
                  <a:lnTo>
                    <a:pt x="1859945" y="13504"/>
                  </a:lnTo>
                  <a:lnTo>
                    <a:pt x="1862468" y="17280"/>
                  </a:lnTo>
                  <a:lnTo>
                    <a:pt x="1864241" y="21559"/>
                  </a:lnTo>
                  <a:lnTo>
                    <a:pt x="1866013" y="25838"/>
                  </a:lnTo>
                  <a:lnTo>
                    <a:pt x="1866900" y="30293"/>
                  </a:lnTo>
                  <a:lnTo>
                    <a:pt x="1866900" y="34925"/>
                  </a:lnTo>
                  <a:lnTo>
                    <a:pt x="1866900" y="403225"/>
                  </a:lnTo>
                  <a:lnTo>
                    <a:pt x="1866900" y="407856"/>
                  </a:lnTo>
                  <a:lnTo>
                    <a:pt x="1866013" y="412311"/>
                  </a:lnTo>
                  <a:lnTo>
                    <a:pt x="1864241" y="416590"/>
                  </a:lnTo>
                  <a:lnTo>
                    <a:pt x="1862468" y="420868"/>
                  </a:lnTo>
                  <a:lnTo>
                    <a:pt x="1845340" y="435491"/>
                  </a:lnTo>
                  <a:lnTo>
                    <a:pt x="1841061" y="437263"/>
                  </a:lnTo>
                  <a:lnTo>
                    <a:pt x="1836606" y="438150"/>
                  </a:lnTo>
                  <a:lnTo>
                    <a:pt x="1831975" y="438150"/>
                  </a:lnTo>
                  <a:lnTo>
                    <a:pt x="34925" y="438150"/>
                  </a:lnTo>
                  <a:lnTo>
                    <a:pt x="30293" y="438150"/>
                  </a:lnTo>
                  <a:lnTo>
                    <a:pt x="25838" y="437263"/>
                  </a:lnTo>
                  <a:lnTo>
                    <a:pt x="2658" y="416590"/>
                  </a:lnTo>
                  <a:lnTo>
                    <a:pt x="886" y="412311"/>
                  </a:lnTo>
                  <a:lnTo>
                    <a:pt x="0" y="407856"/>
                  </a:lnTo>
                  <a:lnTo>
                    <a:pt x="0" y="403225"/>
                  </a:lnTo>
                  <a:close/>
                </a:path>
              </a:pathLst>
            </a:cu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72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sponsible AI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thics &amp; compliance tools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object 5">
              <a:extLst>
                <a:ext uri="{FF2B5EF4-FFF2-40B4-BE49-F238E27FC236}">
                  <a16:creationId xmlns:a16="http://schemas.microsoft.com/office/drawing/2014/main" id="{E8363FA1-DFFB-832F-BD5C-70033840147C}"/>
                </a:ext>
              </a:extLst>
            </p:cNvPr>
            <p:cNvSpPr/>
            <p:nvPr/>
          </p:nvSpPr>
          <p:spPr>
            <a:xfrm>
              <a:off x="2086918" y="4410011"/>
              <a:ext cx="1503205" cy="526427"/>
            </a:xfrm>
            <a:custGeom>
              <a:avLst/>
              <a:gdLst/>
              <a:ahLst/>
              <a:cxnLst/>
              <a:rect l="l" t="t" r="r" b="b"/>
              <a:pathLst>
                <a:path w="1866900" h="438150">
                  <a:moveTo>
                    <a:pt x="0" y="403225"/>
                  </a:moveTo>
                  <a:lnTo>
                    <a:pt x="0" y="34925"/>
                  </a:lnTo>
                  <a:lnTo>
                    <a:pt x="0" y="30293"/>
                  </a:lnTo>
                  <a:lnTo>
                    <a:pt x="886" y="25838"/>
                  </a:lnTo>
                  <a:lnTo>
                    <a:pt x="2658" y="21559"/>
                  </a:lnTo>
                  <a:lnTo>
                    <a:pt x="4430" y="17280"/>
                  </a:lnTo>
                  <a:lnTo>
                    <a:pt x="6954" y="13504"/>
                  </a:lnTo>
                  <a:lnTo>
                    <a:pt x="10229" y="10229"/>
                  </a:lnTo>
                  <a:lnTo>
                    <a:pt x="13504" y="6954"/>
                  </a:lnTo>
                  <a:lnTo>
                    <a:pt x="17280" y="4430"/>
                  </a:lnTo>
                  <a:lnTo>
                    <a:pt x="21559" y="2658"/>
                  </a:lnTo>
                  <a:lnTo>
                    <a:pt x="25838" y="886"/>
                  </a:lnTo>
                  <a:lnTo>
                    <a:pt x="30293" y="0"/>
                  </a:lnTo>
                  <a:lnTo>
                    <a:pt x="34925" y="0"/>
                  </a:lnTo>
                  <a:lnTo>
                    <a:pt x="1831975" y="0"/>
                  </a:lnTo>
                  <a:lnTo>
                    <a:pt x="1836606" y="0"/>
                  </a:lnTo>
                  <a:lnTo>
                    <a:pt x="1841061" y="886"/>
                  </a:lnTo>
                  <a:lnTo>
                    <a:pt x="1845340" y="2658"/>
                  </a:lnTo>
                  <a:lnTo>
                    <a:pt x="1849618" y="4430"/>
                  </a:lnTo>
                  <a:lnTo>
                    <a:pt x="1853395" y="6954"/>
                  </a:lnTo>
                  <a:lnTo>
                    <a:pt x="1856670" y="10229"/>
                  </a:lnTo>
                  <a:lnTo>
                    <a:pt x="1859945" y="13504"/>
                  </a:lnTo>
                  <a:lnTo>
                    <a:pt x="1862468" y="17280"/>
                  </a:lnTo>
                  <a:lnTo>
                    <a:pt x="1864241" y="21559"/>
                  </a:lnTo>
                  <a:lnTo>
                    <a:pt x="1866013" y="25838"/>
                  </a:lnTo>
                  <a:lnTo>
                    <a:pt x="1866900" y="30293"/>
                  </a:lnTo>
                  <a:lnTo>
                    <a:pt x="1866900" y="34925"/>
                  </a:lnTo>
                  <a:lnTo>
                    <a:pt x="1866900" y="403225"/>
                  </a:lnTo>
                  <a:lnTo>
                    <a:pt x="1866900" y="407856"/>
                  </a:lnTo>
                  <a:lnTo>
                    <a:pt x="1866013" y="412311"/>
                  </a:lnTo>
                  <a:lnTo>
                    <a:pt x="1864241" y="416590"/>
                  </a:lnTo>
                  <a:lnTo>
                    <a:pt x="1862468" y="420868"/>
                  </a:lnTo>
                  <a:lnTo>
                    <a:pt x="1845340" y="435491"/>
                  </a:lnTo>
                  <a:lnTo>
                    <a:pt x="1841061" y="437263"/>
                  </a:lnTo>
                  <a:lnTo>
                    <a:pt x="1836606" y="438150"/>
                  </a:lnTo>
                  <a:lnTo>
                    <a:pt x="1831975" y="438150"/>
                  </a:lnTo>
                  <a:lnTo>
                    <a:pt x="34925" y="438150"/>
                  </a:lnTo>
                  <a:lnTo>
                    <a:pt x="30293" y="438150"/>
                  </a:lnTo>
                  <a:lnTo>
                    <a:pt x="25838" y="437263"/>
                  </a:lnTo>
                  <a:lnTo>
                    <a:pt x="2658" y="416590"/>
                  </a:lnTo>
                  <a:lnTo>
                    <a:pt x="886" y="412311"/>
                  </a:lnTo>
                  <a:lnTo>
                    <a:pt x="0" y="407856"/>
                  </a:lnTo>
                  <a:lnTo>
                    <a:pt x="0" y="403225"/>
                  </a:lnTo>
                  <a:close/>
                </a:path>
              </a:pathLst>
            </a:cu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72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gentic Model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LM workspace integration</a:t>
              </a: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object 5">
              <a:extLst>
                <a:ext uri="{FF2B5EF4-FFF2-40B4-BE49-F238E27FC236}">
                  <a16:creationId xmlns:a16="http://schemas.microsoft.com/office/drawing/2014/main" id="{A37BC6CC-C35F-892C-076C-AF4F28249F16}"/>
                </a:ext>
              </a:extLst>
            </p:cNvPr>
            <p:cNvSpPr/>
            <p:nvPr/>
          </p:nvSpPr>
          <p:spPr>
            <a:xfrm>
              <a:off x="3698874" y="4410011"/>
              <a:ext cx="1503205" cy="526427"/>
            </a:xfrm>
            <a:custGeom>
              <a:avLst/>
              <a:gdLst/>
              <a:ahLst/>
              <a:cxnLst/>
              <a:rect l="l" t="t" r="r" b="b"/>
              <a:pathLst>
                <a:path w="1866900" h="438150">
                  <a:moveTo>
                    <a:pt x="0" y="403225"/>
                  </a:moveTo>
                  <a:lnTo>
                    <a:pt x="0" y="34925"/>
                  </a:lnTo>
                  <a:lnTo>
                    <a:pt x="0" y="30293"/>
                  </a:lnTo>
                  <a:lnTo>
                    <a:pt x="886" y="25838"/>
                  </a:lnTo>
                  <a:lnTo>
                    <a:pt x="2658" y="21559"/>
                  </a:lnTo>
                  <a:lnTo>
                    <a:pt x="4430" y="17280"/>
                  </a:lnTo>
                  <a:lnTo>
                    <a:pt x="6954" y="13504"/>
                  </a:lnTo>
                  <a:lnTo>
                    <a:pt x="10229" y="10229"/>
                  </a:lnTo>
                  <a:lnTo>
                    <a:pt x="13504" y="6954"/>
                  </a:lnTo>
                  <a:lnTo>
                    <a:pt x="17280" y="4430"/>
                  </a:lnTo>
                  <a:lnTo>
                    <a:pt x="21559" y="2658"/>
                  </a:lnTo>
                  <a:lnTo>
                    <a:pt x="25838" y="886"/>
                  </a:lnTo>
                  <a:lnTo>
                    <a:pt x="30293" y="0"/>
                  </a:lnTo>
                  <a:lnTo>
                    <a:pt x="34925" y="0"/>
                  </a:lnTo>
                  <a:lnTo>
                    <a:pt x="1831975" y="0"/>
                  </a:lnTo>
                  <a:lnTo>
                    <a:pt x="1836606" y="0"/>
                  </a:lnTo>
                  <a:lnTo>
                    <a:pt x="1841061" y="886"/>
                  </a:lnTo>
                  <a:lnTo>
                    <a:pt x="1845340" y="2658"/>
                  </a:lnTo>
                  <a:lnTo>
                    <a:pt x="1849618" y="4430"/>
                  </a:lnTo>
                  <a:lnTo>
                    <a:pt x="1853395" y="6954"/>
                  </a:lnTo>
                  <a:lnTo>
                    <a:pt x="1856670" y="10229"/>
                  </a:lnTo>
                  <a:lnTo>
                    <a:pt x="1859945" y="13504"/>
                  </a:lnTo>
                  <a:lnTo>
                    <a:pt x="1862468" y="17280"/>
                  </a:lnTo>
                  <a:lnTo>
                    <a:pt x="1864241" y="21559"/>
                  </a:lnTo>
                  <a:lnTo>
                    <a:pt x="1866013" y="25838"/>
                  </a:lnTo>
                  <a:lnTo>
                    <a:pt x="1866900" y="30293"/>
                  </a:lnTo>
                  <a:lnTo>
                    <a:pt x="1866900" y="34925"/>
                  </a:lnTo>
                  <a:lnTo>
                    <a:pt x="1866900" y="403225"/>
                  </a:lnTo>
                  <a:lnTo>
                    <a:pt x="1866900" y="407856"/>
                  </a:lnTo>
                  <a:lnTo>
                    <a:pt x="1866013" y="412311"/>
                  </a:lnTo>
                  <a:lnTo>
                    <a:pt x="1864241" y="416590"/>
                  </a:lnTo>
                  <a:lnTo>
                    <a:pt x="1862468" y="420868"/>
                  </a:lnTo>
                  <a:lnTo>
                    <a:pt x="1845340" y="435491"/>
                  </a:lnTo>
                  <a:lnTo>
                    <a:pt x="1841061" y="437263"/>
                  </a:lnTo>
                  <a:lnTo>
                    <a:pt x="1836606" y="438150"/>
                  </a:lnTo>
                  <a:lnTo>
                    <a:pt x="1831975" y="438150"/>
                  </a:lnTo>
                  <a:lnTo>
                    <a:pt x="34925" y="438150"/>
                  </a:lnTo>
                  <a:lnTo>
                    <a:pt x="30293" y="438150"/>
                  </a:lnTo>
                  <a:lnTo>
                    <a:pt x="25838" y="437263"/>
                  </a:lnTo>
                  <a:lnTo>
                    <a:pt x="2658" y="416590"/>
                  </a:lnTo>
                  <a:lnTo>
                    <a:pt x="886" y="412311"/>
                  </a:lnTo>
                  <a:lnTo>
                    <a:pt x="0" y="407856"/>
                  </a:lnTo>
                  <a:lnTo>
                    <a:pt x="0" y="403225"/>
                  </a:lnTo>
                  <a:close/>
                </a:path>
              </a:pathLst>
            </a:cu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72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vestment Tool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OI decision support</a:t>
              </a:r>
            </a:p>
          </p:txBody>
        </p:sp>
      </p:grpSp>
      <p:pic>
        <p:nvPicPr>
          <p:cNvPr id="112" name="Content Placeholder 17">
            <a:extLst>
              <a:ext uri="{FF2B5EF4-FFF2-40B4-BE49-F238E27FC236}">
                <a16:creationId xmlns:a16="http://schemas.microsoft.com/office/drawing/2014/main" id="{08634C59-D5AB-1E34-4326-CB29DF6202F0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4301" y="3901256"/>
            <a:ext cx="855644" cy="513391"/>
          </a:xfrm>
          <a:custGeom>
            <a:avLst/>
            <a:gdLst/>
            <a:ahLst/>
            <a:cxnLst/>
            <a:rect l="l" t="t" r="r" b="b"/>
            <a:pathLst>
              <a:path w="4777381" h="5643794">
                <a:moveTo>
                  <a:pt x="143704" y="0"/>
                </a:moveTo>
                <a:lnTo>
                  <a:pt x="4633677" y="0"/>
                </a:lnTo>
                <a:cubicBezTo>
                  <a:pt x="4713043" y="0"/>
                  <a:pt x="4777381" y="64338"/>
                  <a:pt x="4777381" y="143704"/>
                </a:cubicBezTo>
                <a:lnTo>
                  <a:pt x="4777381" y="5500090"/>
                </a:lnTo>
                <a:cubicBezTo>
                  <a:pt x="4777381" y="5579456"/>
                  <a:pt x="4713043" y="5643794"/>
                  <a:pt x="4633677" y="5643794"/>
                </a:cubicBezTo>
                <a:lnTo>
                  <a:pt x="143704" y="5643794"/>
                </a:lnTo>
                <a:cubicBezTo>
                  <a:pt x="64338" y="5643794"/>
                  <a:pt x="0" y="5579456"/>
                  <a:pt x="0" y="5500090"/>
                </a:cubicBezTo>
                <a:lnTo>
                  <a:pt x="0" y="143704"/>
                </a:lnTo>
                <a:cubicBezTo>
                  <a:pt x="0" y="64338"/>
                  <a:pt x="64338" y="0"/>
                  <a:pt x="143704" y="0"/>
                </a:cubicBezTo>
                <a:close/>
              </a:path>
            </a:pathLst>
          </a:custGeom>
        </p:spPr>
      </p:pic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5D7A5C5A-5599-F331-A29B-78DAE391ED2C}"/>
              </a:ext>
            </a:extLst>
          </p:cNvPr>
          <p:cNvSpPr/>
          <p:nvPr/>
        </p:nvSpPr>
        <p:spPr>
          <a:xfrm>
            <a:off x="336551" y="5311102"/>
            <a:ext cx="2813050" cy="1013467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35017AE-1F01-3122-FE4B-C88CA1FAC3CC}"/>
              </a:ext>
            </a:extLst>
          </p:cNvPr>
          <p:cNvSpPr txBox="1"/>
          <p:nvPr/>
        </p:nvSpPr>
        <p:spPr>
          <a:xfrm>
            <a:off x="340893" y="4978795"/>
            <a:ext cx="280079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abling Platforms</a:t>
            </a: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5179B514-C9C4-3631-8BB1-3CDB222140F6}"/>
              </a:ext>
            </a:extLst>
          </p:cNvPr>
          <p:cNvSpPr/>
          <p:nvPr/>
        </p:nvSpPr>
        <p:spPr>
          <a:xfrm>
            <a:off x="3282950" y="5311102"/>
            <a:ext cx="2813050" cy="1013467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2CF32AB2-A171-35D3-BF6F-16F07433C6A4}"/>
              </a:ext>
            </a:extLst>
          </p:cNvPr>
          <p:cNvSpPr txBox="1"/>
          <p:nvPr/>
        </p:nvSpPr>
        <p:spPr>
          <a:xfrm>
            <a:off x="3287293" y="4978795"/>
            <a:ext cx="28007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ing Depth</a:t>
            </a: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2929A09F-A6ED-7009-0F9F-754C4FC71836}"/>
              </a:ext>
            </a:extLst>
          </p:cNvPr>
          <p:cNvSpPr/>
          <p:nvPr/>
        </p:nvSpPr>
        <p:spPr>
          <a:xfrm>
            <a:off x="6237261" y="5311102"/>
            <a:ext cx="2813049" cy="1013467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6FC2D16F-8235-4AF9-EEAF-95FBF61F9F30}"/>
              </a:ext>
            </a:extLst>
          </p:cNvPr>
          <p:cNvSpPr txBox="1"/>
          <p:nvPr/>
        </p:nvSpPr>
        <p:spPr>
          <a:xfrm>
            <a:off x="6241604" y="4978795"/>
            <a:ext cx="28007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p Customers &amp; Wins in 2024-25 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5C5A5810-A595-E293-9429-47F409E2486C}"/>
              </a:ext>
            </a:extLst>
          </p:cNvPr>
          <p:cNvSpPr/>
          <p:nvPr/>
        </p:nvSpPr>
        <p:spPr>
          <a:xfrm>
            <a:off x="9191571" y="5596496"/>
            <a:ext cx="2663879" cy="728073"/>
          </a:xfrm>
          <a:prstGeom prst="roundRect">
            <a:avLst>
              <a:gd name="adj" fmla="val 4546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144000" rtlCol="0" anchor="t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96A4203-BD6B-0FF7-B70D-74C88BCF1B20}"/>
              </a:ext>
            </a:extLst>
          </p:cNvPr>
          <p:cNvSpPr txBox="1"/>
          <p:nvPr/>
        </p:nvSpPr>
        <p:spPr>
          <a:xfrm>
            <a:off x="9195913" y="4978795"/>
            <a:ext cx="265519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Analyst &amp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ner Recognitions</a:t>
            </a:r>
          </a:p>
        </p:txBody>
      </p:sp>
      <p:pic>
        <p:nvPicPr>
          <p:cNvPr id="125" name="Picture 124">
            <a:extLst>
              <a:ext uri="{FF2B5EF4-FFF2-40B4-BE49-F238E27FC236}">
                <a16:creationId xmlns:a16="http://schemas.microsoft.com/office/drawing/2014/main" id="{66565C21-30E0-1F8A-FEF1-1AEE5F76C9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905" y="5327445"/>
            <a:ext cx="519093" cy="268456"/>
          </a:xfrm>
          <a:prstGeom prst="rect">
            <a:avLst/>
          </a:prstGeom>
        </p:spPr>
      </p:pic>
      <p:pic>
        <p:nvPicPr>
          <p:cNvPr id="126" name="Picture 125">
            <a:extLst>
              <a:ext uri="{FF2B5EF4-FFF2-40B4-BE49-F238E27FC236}">
                <a16:creationId xmlns:a16="http://schemas.microsoft.com/office/drawing/2014/main" id="{1F4EA3A6-8122-CBF1-56CA-FCD3CBFB3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05333" y="6083061"/>
            <a:ext cx="376521" cy="85192"/>
          </a:xfrm>
          <a:prstGeom prst="rect">
            <a:avLst/>
          </a:prstGeom>
        </p:spPr>
      </p:pic>
      <p:pic>
        <p:nvPicPr>
          <p:cNvPr id="127" name="Picture 126">
            <a:extLst>
              <a:ext uri="{FF2B5EF4-FFF2-40B4-BE49-F238E27FC236}">
                <a16:creationId xmlns:a16="http://schemas.microsoft.com/office/drawing/2014/main" id="{F983C8C1-A1C8-117A-CAC0-DA9F398FE0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0650" y="5696609"/>
            <a:ext cx="512575" cy="153048"/>
          </a:xfrm>
          <a:prstGeom prst="rect">
            <a:avLst/>
          </a:prstGeom>
        </p:spPr>
      </p:pic>
      <p:pic>
        <p:nvPicPr>
          <p:cNvPr id="192" name="Picture 191">
            <a:extLst>
              <a:ext uri="{FF2B5EF4-FFF2-40B4-BE49-F238E27FC236}">
                <a16:creationId xmlns:a16="http://schemas.microsoft.com/office/drawing/2014/main" id="{2268B928-9CCD-EFB2-7429-726FB0FD14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90964" y="6086710"/>
            <a:ext cx="436715" cy="77895"/>
          </a:xfrm>
          <a:prstGeom prst="rect">
            <a:avLst/>
          </a:prstGeom>
        </p:spPr>
      </p:pic>
      <p:pic>
        <p:nvPicPr>
          <p:cNvPr id="193" name="Picture 192">
            <a:extLst>
              <a:ext uri="{FF2B5EF4-FFF2-40B4-BE49-F238E27FC236}">
                <a16:creationId xmlns:a16="http://schemas.microsoft.com/office/drawing/2014/main" id="{CCCA58E9-B325-C817-2807-AC4E9B2BDA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8897" y="5396584"/>
            <a:ext cx="252820" cy="151693"/>
          </a:xfrm>
          <a:prstGeom prst="rect">
            <a:avLst/>
          </a:prstGeom>
        </p:spPr>
      </p:pic>
      <p:pic>
        <p:nvPicPr>
          <p:cNvPr id="194" name="Picture 193">
            <a:extLst>
              <a:ext uri="{FF2B5EF4-FFF2-40B4-BE49-F238E27FC236}">
                <a16:creationId xmlns:a16="http://schemas.microsoft.com/office/drawing/2014/main" id="{08E7266F-1061-C731-4702-B114F45ACBA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75481" y="5779810"/>
            <a:ext cx="433841" cy="48807"/>
          </a:xfrm>
          <a:prstGeom prst="rect">
            <a:avLst/>
          </a:prstGeom>
        </p:spPr>
      </p:pic>
      <p:pic>
        <p:nvPicPr>
          <p:cNvPr id="195" name="Picture 194">
            <a:extLst>
              <a:ext uri="{FF2B5EF4-FFF2-40B4-BE49-F238E27FC236}">
                <a16:creationId xmlns:a16="http://schemas.microsoft.com/office/drawing/2014/main" id="{755D6464-0FA6-C424-5898-5F7688C8EF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23138" y="5403188"/>
            <a:ext cx="477225" cy="59841"/>
          </a:xfrm>
          <a:prstGeom prst="rect">
            <a:avLst/>
          </a:prstGeom>
        </p:spPr>
      </p:pic>
      <p:pic>
        <p:nvPicPr>
          <p:cNvPr id="196" name="Picture 195">
            <a:extLst>
              <a:ext uri="{FF2B5EF4-FFF2-40B4-BE49-F238E27FC236}">
                <a16:creationId xmlns:a16="http://schemas.microsoft.com/office/drawing/2014/main" id="{319ECCED-1A64-7AAB-E4FF-B4F1AEA24EA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23138" y="5904070"/>
            <a:ext cx="330247" cy="330247"/>
          </a:xfrm>
          <a:prstGeom prst="rect">
            <a:avLst/>
          </a:prstGeom>
        </p:spPr>
      </p:pic>
      <p:pic>
        <p:nvPicPr>
          <p:cNvPr id="197" name="Picture 196">
            <a:extLst>
              <a:ext uri="{FF2B5EF4-FFF2-40B4-BE49-F238E27FC236}">
                <a16:creationId xmlns:a16="http://schemas.microsoft.com/office/drawing/2014/main" id="{3669A4CC-B385-A281-0832-F5DE3A63D86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571431" y="5271959"/>
            <a:ext cx="574685" cy="323942"/>
          </a:xfrm>
          <a:prstGeom prst="rect">
            <a:avLst/>
          </a:prstGeom>
        </p:spPr>
      </p:pic>
      <p:pic>
        <p:nvPicPr>
          <p:cNvPr id="198" name="Picture 197">
            <a:extLst>
              <a:ext uri="{FF2B5EF4-FFF2-40B4-BE49-F238E27FC236}">
                <a16:creationId xmlns:a16="http://schemas.microsoft.com/office/drawing/2014/main" id="{0F434D2F-4A34-4247-A729-6FBC05A3C7E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148291" y="5407456"/>
            <a:ext cx="394401" cy="51304"/>
          </a:xfrm>
          <a:prstGeom prst="rect">
            <a:avLst/>
          </a:prstGeom>
        </p:spPr>
      </p:pic>
      <p:pic>
        <p:nvPicPr>
          <p:cNvPr id="199" name="Picture 198">
            <a:extLst>
              <a:ext uri="{FF2B5EF4-FFF2-40B4-BE49-F238E27FC236}">
                <a16:creationId xmlns:a16="http://schemas.microsoft.com/office/drawing/2014/main" id="{91E47CA8-CF4A-6915-2285-40DC1FEFDC0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08968" y="6023392"/>
            <a:ext cx="558965" cy="161031"/>
          </a:xfrm>
          <a:prstGeom prst="rect">
            <a:avLst/>
          </a:prstGeom>
        </p:spPr>
      </p:pic>
      <p:pic>
        <p:nvPicPr>
          <p:cNvPr id="200" name="Picture 199">
            <a:extLst>
              <a:ext uri="{FF2B5EF4-FFF2-40B4-BE49-F238E27FC236}">
                <a16:creationId xmlns:a16="http://schemas.microsoft.com/office/drawing/2014/main" id="{ABFA9DBF-CACA-40DE-BCCA-4DBF8F97975A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365023" y="5760948"/>
            <a:ext cx="428571" cy="135338"/>
          </a:xfrm>
          <a:prstGeom prst="rect">
            <a:avLst/>
          </a:prstGeom>
        </p:spPr>
      </p:pic>
      <p:pic>
        <p:nvPicPr>
          <p:cNvPr id="201" name="Picture 2">
            <a:extLst>
              <a:ext uri="{FF2B5EF4-FFF2-40B4-BE49-F238E27FC236}">
                <a16:creationId xmlns:a16="http://schemas.microsoft.com/office/drawing/2014/main" id="{3A94DDA3-B458-D7D0-3E6D-7A9F236035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191" y="6053024"/>
            <a:ext cx="244892" cy="121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" name="Picture 202">
            <a:extLst>
              <a:ext uri="{FF2B5EF4-FFF2-40B4-BE49-F238E27FC236}">
                <a16:creationId xmlns:a16="http://schemas.microsoft.com/office/drawing/2014/main" id="{AFD2857F-522A-226D-08BA-507B0FBBDE3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05" y="5694149"/>
            <a:ext cx="629489" cy="161032"/>
          </a:xfrm>
          <a:prstGeom prst="rect">
            <a:avLst/>
          </a:prstGeom>
        </p:spPr>
      </p:pic>
      <p:pic>
        <p:nvPicPr>
          <p:cNvPr id="217" name="Picture 216">
            <a:extLst>
              <a:ext uri="{FF2B5EF4-FFF2-40B4-BE49-F238E27FC236}">
                <a16:creationId xmlns:a16="http://schemas.microsoft.com/office/drawing/2014/main" id="{B9F48032-3F64-DEA2-DF92-B33D26974EC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802961" y="6054199"/>
            <a:ext cx="652629" cy="159510"/>
          </a:xfrm>
          <a:prstGeom prst="rect">
            <a:avLst/>
          </a:prstGeom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BDED3D61-1887-5261-F92D-79A7FED43DB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550789" y="5386195"/>
            <a:ext cx="466235" cy="117206"/>
          </a:xfrm>
          <a:prstGeom prst="rect">
            <a:avLst/>
          </a:prstGeom>
        </p:spPr>
      </p:pic>
      <p:pic>
        <p:nvPicPr>
          <p:cNvPr id="219" name="Picture 218">
            <a:extLst>
              <a:ext uri="{FF2B5EF4-FFF2-40B4-BE49-F238E27FC236}">
                <a16:creationId xmlns:a16="http://schemas.microsoft.com/office/drawing/2014/main" id="{B44BAD01-01AE-DB60-67FF-4B0C4BFE1AE0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762275" y="5371266"/>
            <a:ext cx="652776" cy="147064"/>
          </a:xfrm>
          <a:prstGeom prst="rect">
            <a:avLst/>
          </a:prstGeom>
        </p:spPr>
      </p:pic>
      <p:pic>
        <p:nvPicPr>
          <p:cNvPr id="220" name="Picture 219">
            <a:extLst>
              <a:ext uri="{FF2B5EF4-FFF2-40B4-BE49-F238E27FC236}">
                <a16:creationId xmlns:a16="http://schemas.microsoft.com/office/drawing/2014/main" id="{2F4A5CAF-2C91-BC30-FE4F-B626BC4A951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059395" y="6010593"/>
            <a:ext cx="614419" cy="210783"/>
          </a:xfrm>
          <a:prstGeom prst="rect">
            <a:avLst/>
          </a:prstGeom>
        </p:spPr>
      </p:pic>
      <p:pic>
        <p:nvPicPr>
          <p:cNvPr id="221" name="Picture 220">
            <a:extLst>
              <a:ext uri="{FF2B5EF4-FFF2-40B4-BE49-F238E27FC236}">
                <a16:creationId xmlns:a16="http://schemas.microsoft.com/office/drawing/2014/main" id="{D3DB4AD1-2771-F8C4-567F-0E036A78B2AE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304256" y="5348875"/>
            <a:ext cx="653911" cy="166922"/>
          </a:xfrm>
          <a:prstGeom prst="rect">
            <a:avLst/>
          </a:prstGeom>
        </p:spPr>
      </p:pic>
      <p:pic>
        <p:nvPicPr>
          <p:cNvPr id="222" name="Picture 221">
            <a:extLst>
              <a:ext uri="{FF2B5EF4-FFF2-40B4-BE49-F238E27FC236}">
                <a16:creationId xmlns:a16="http://schemas.microsoft.com/office/drawing/2014/main" id="{B600C364-94AE-AA85-664A-3C927ED2C63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675718" y="5733113"/>
            <a:ext cx="310685" cy="98497"/>
          </a:xfrm>
          <a:prstGeom prst="rect">
            <a:avLst/>
          </a:prstGeom>
        </p:spPr>
      </p:pic>
      <p:pic>
        <p:nvPicPr>
          <p:cNvPr id="223" name="Picture 222">
            <a:extLst>
              <a:ext uri="{FF2B5EF4-FFF2-40B4-BE49-F238E27FC236}">
                <a16:creationId xmlns:a16="http://schemas.microsoft.com/office/drawing/2014/main" id="{14E79856-21F5-7288-B550-EC7038FF7A39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388737" y="6050109"/>
            <a:ext cx="534399" cy="148459"/>
          </a:xfrm>
          <a:prstGeom prst="rect">
            <a:avLst/>
          </a:prstGeom>
        </p:spPr>
      </p:pic>
      <p:pic>
        <p:nvPicPr>
          <p:cNvPr id="224" name="Picture 223">
            <a:extLst>
              <a:ext uri="{FF2B5EF4-FFF2-40B4-BE49-F238E27FC236}">
                <a16:creationId xmlns:a16="http://schemas.microsoft.com/office/drawing/2014/main" id="{FDFD619D-74A4-1498-EB99-5DE2DB5B75F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093904" y="5396584"/>
            <a:ext cx="532634" cy="82424"/>
          </a:xfrm>
          <a:prstGeom prst="rect">
            <a:avLst/>
          </a:prstGeom>
        </p:spPr>
      </p:pic>
      <p:pic>
        <p:nvPicPr>
          <p:cNvPr id="225" name="Picture 224">
            <a:extLst>
              <a:ext uri="{FF2B5EF4-FFF2-40B4-BE49-F238E27FC236}">
                <a16:creationId xmlns:a16="http://schemas.microsoft.com/office/drawing/2014/main" id="{2D9D1122-416D-6B4D-0006-AF9A0405195C}"/>
              </a:ext>
            </a:extLst>
          </p:cNvPr>
          <p:cNvPicPr>
            <a:picLocks noChangeAspect="1"/>
          </p:cNvPicPr>
          <p:nvPr/>
        </p:nvPicPr>
        <p:blipFill>
          <a:blip r:embed="rId27">
            <a:biLevel thresh="75000"/>
          </a:blip>
          <a:stretch>
            <a:fillRect/>
          </a:stretch>
        </p:blipFill>
        <p:spPr>
          <a:xfrm>
            <a:off x="5040633" y="5727132"/>
            <a:ext cx="438460" cy="104478"/>
          </a:xfrm>
          <a:prstGeom prst="rect">
            <a:avLst/>
          </a:prstGeom>
        </p:spPr>
      </p:pic>
      <p:pic>
        <p:nvPicPr>
          <p:cNvPr id="227" name="Picture 226">
            <a:extLst>
              <a:ext uri="{FF2B5EF4-FFF2-40B4-BE49-F238E27FC236}">
                <a16:creationId xmlns:a16="http://schemas.microsoft.com/office/drawing/2014/main" id="{1AE6F631-54B2-9B73-9875-724B89F8036C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408081" y="5728063"/>
            <a:ext cx="435927" cy="80647"/>
          </a:xfrm>
          <a:prstGeom prst="rect">
            <a:avLst/>
          </a:prstGeom>
        </p:spPr>
      </p:pic>
      <p:pic>
        <p:nvPicPr>
          <p:cNvPr id="228" name="Picture 227">
            <a:extLst>
              <a:ext uri="{FF2B5EF4-FFF2-40B4-BE49-F238E27FC236}">
                <a16:creationId xmlns:a16="http://schemas.microsoft.com/office/drawing/2014/main" id="{BEE13A7D-DBED-3E8C-27D8-A110D25E3E2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046" y="5704179"/>
            <a:ext cx="862410" cy="140195"/>
          </a:xfrm>
          <a:prstGeom prst="rect">
            <a:avLst/>
          </a:prstGeom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F4408A7B-443C-940D-E64E-56ADAA77B0A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194" y="6053024"/>
            <a:ext cx="466236" cy="158264"/>
          </a:xfrm>
          <a:prstGeom prst="rect">
            <a:avLst/>
          </a:prstGeom>
        </p:spPr>
      </p:pic>
      <p:pic>
        <p:nvPicPr>
          <p:cNvPr id="230" name="Picture 229">
            <a:extLst>
              <a:ext uri="{FF2B5EF4-FFF2-40B4-BE49-F238E27FC236}">
                <a16:creationId xmlns:a16="http://schemas.microsoft.com/office/drawing/2014/main" id="{B1482599-7D45-6ED2-C0A5-BA3220A3D0F5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308270" y="6063770"/>
            <a:ext cx="384616" cy="123033"/>
          </a:xfrm>
          <a:prstGeom prst="rect">
            <a:avLst/>
          </a:prstGeom>
        </p:spPr>
      </p:pic>
      <p:pic>
        <p:nvPicPr>
          <p:cNvPr id="231" name="Picture 230">
            <a:extLst>
              <a:ext uri="{FF2B5EF4-FFF2-40B4-BE49-F238E27FC236}">
                <a16:creationId xmlns:a16="http://schemas.microsoft.com/office/drawing/2014/main" id="{C8A862C1-61E5-9609-AD5F-EB26691612AB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875863" y="6074110"/>
            <a:ext cx="524948" cy="111865"/>
          </a:xfrm>
          <a:prstGeom prst="rect">
            <a:avLst/>
          </a:prstGeom>
        </p:spPr>
      </p:pic>
      <p:pic>
        <p:nvPicPr>
          <p:cNvPr id="232" name="Picture 231">
            <a:extLst>
              <a:ext uri="{FF2B5EF4-FFF2-40B4-BE49-F238E27FC236}">
                <a16:creationId xmlns:a16="http://schemas.microsoft.com/office/drawing/2014/main" id="{261683FC-08DC-0387-31CD-70BBA242733D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8030516" y="5499062"/>
            <a:ext cx="433841" cy="216921"/>
          </a:xfrm>
          <a:prstGeom prst="rect">
            <a:avLst/>
          </a:prstGeom>
        </p:spPr>
      </p:pic>
      <p:pic>
        <p:nvPicPr>
          <p:cNvPr id="233" name="Picture 232">
            <a:extLst>
              <a:ext uri="{FF2B5EF4-FFF2-40B4-BE49-F238E27FC236}">
                <a16:creationId xmlns:a16="http://schemas.microsoft.com/office/drawing/2014/main" id="{9955C558-2232-052E-DE2E-9BCC41CB2DB9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583788" y="6057798"/>
            <a:ext cx="124346" cy="124102"/>
          </a:xfrm>
          <a:prstGeom prst="rect">
            <a:avLst/>
          </a:prstGeom>
        </p:spPr>
      </p:pic>
      <p:pic>
        <p:nvPicPr>
          <p:cNvPr id="234" name="Picture 233">
            <a:extLst>
              <a:ext uri="{FF2B5EF4-FFF2-40B4-BE49-F238E27FC236}">
                <a16:creationId xmlns:a16="http://schemas.microsoft.com/office/drawing/2014/main" id="{30A07F7C-4224-BDEE-1137-0EFB5ED00520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8670515" y="5545961"/>
            <a:ext cx="325951" cy="123123"/>
          </a:xfrm>
          <a:prstGeom prst="rect">
            <a:avLst/>
          </a:prstGeom>
        </p:spPr>
      </p:pic>
      <p:pic>
        <p:nvPicPr>
          <p:cNvPr id="235" name="Picture 234">
            <a:extLst>
              <a:ext uri="{FF2B5EF4-FFF2-40B4-BE49-F238E27FC236}">
                <a16:creationId xmlns:a16="http://schemas.microsoft.com/office/drawing/2014/main" id="{10B8C4FD-01B4-950A-792E-F86742488C62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308270" y="5557898"/>
            <a:ext cx="541353" cy="99248"/>
          </a:xfrm>
          <a:prstGeom prst="rect">
            <a:avLst/>
          </a:prstGeom>
        </p:spPr>
      </p:pic>
      <p:pic>
        <p:nvPicPr>
          <p:cNvPr id="236" name="Picture 235">
            <a:extLst>
              <a:ext uri="{FF2B5EF4-FFF2-40B4-BE49-F238E27FC236}">
                <a16:creationId xmlns:a16="http://schemas.microsoft.com/office/drawing/2014/main" id="{1F4B7410-2D8D-1995-E895-2208E5442000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7055781" y="5571645"/>
            <a:ext cx="768577" cy="71755"/>
          </a:xfrm>
          <a:prstGeom prst="rect">
            <a:avLst/>
          </a:prstGeom>
        </p:spPr>
      </p:pic>
      <p:pic>
        <p:nvPicPr>
          <p:cNvPr id="238" name="Picture 237">
            <a:extLst>
              <a:ext uri="{FF2B5EF4-FFF2-40B4-BE49-F238E27FC236}">
                <a16:creationId xmlns:a16="http://schemas.microsoft.com/office/drawing/2014/main" id="{7E84345B-0ED1-C2B6-C694-B9F5681B74B9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7891111" y="6057798"/>
            <a:ext cx="537761" cy="124568"/>
          </a:xfrm>
          <a:prstGeom prst="rect">
            <a:avLst/>
          </a:prstGeom>
        </p:spPr>
      </p:pic>
      <p:pic>
        <p:nvPicPr>
          <p:cNvPr id="239" name="Picture 238">
            <a:extLst>
              <a:ext uri="{FF2B5EF4-FFF2-40B4-BE49-F238E27FC236}">
                <a16:creationId xmlns:a16="http://schemas.microsoft.com/office/drawing/2014/main" id="{852376E7-E6A4-220B-6C7B-252254C1E344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8611849" y="6033370"/>
            <a:ext cx="384617" cy="183832"/>
          </a:xfrm>
          <a:prstGeom prst="rect">
            <a:avLst/>
          </a:prstGeom>
        </p:spPr>
      </p:pic>
      <p:sp>
        <p:nvSpPr>
          <p:cNvPr id="343" name="TextBox 342">
            <a:extLst>
              <a:ext uri="{FF2B5EF4-FFF2-40B4-BE49-F238E27FC236}">
                <a16:creationId xmlns:a16="http://schemas.microsoft.com/office/drawing/2014/main" id="{F3F0D0E0-7A1D-A2DB-99B0-99AA461FA60B}"/>
              </a:ext>
            </a:extLst>
          </p:cNvPr>
          <p:cNvSpPr txBox="1"/>
          <p:nvPr/>
        </p:nvSpPr>
        <p:spPr>
          <a:xfrm>
            <a:off x="6219573" y="5303449"/>
            <a:ext cx="142242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isting Agentic AI Programs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2098983D-1210-4470-C389-F1B5A5215D8F}"/>
              </a:ext>
            </a:extLst>
          </p:cNvPr>
          <p:cNvSpPr txBox="1"/>
          <p:nvPr/>
        </p:nvSpPr>
        <p:spPr>
          <a:xfrm>
            <a:off x="6219572" y="5806648"/>
            <a:ext cx="1885699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/ Upcoming Agentic AI Programs</a:t>
            </a:r>
          </a:p>
        </p:txBody>
      </p:sp>
      <p:pic>
        <p:nvPicPr>
          <p:cNvPr id="371" name="Picture 370">
            <a:extLst>
              <a:ext uri="{FF2B5EF4-FFF2-40B4-BE49-F238E27FC236}">
                <a16:creationId xmlns:a16="http://schemas.microsoft.com/office/drawing/2014/main" id="{49FE28A7-EFAF-0D44-4CBC-D1016EB98E2C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9310855" y="5849144"/>
            <a:ext cx="221835" cy="217360"/>
          </a:xfrm>
          <a:prstGeom prst="rect">
            <a:avLst/>
          </a:prstGeom>
        </p:spPr>
      </p:pic>
      <p:pic>
        <p:nvPicPr>
          <p:cNvPr id="372" name="Picture 371">
            <a:extLst>
              <a:ext uri="{FF2B5EF4-FFF2-40B4-BE49-F238E27FC236}">
                <a16:creationId xmlns:a16="http://schemas.microsoft.com/office/drawing/2014/main" id="{693A8611-8336-5592-0183-607ED9AEE6A9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9720754" y="5862509"/>
            <a:ext cx="201330" cy="201330"/>
          </a:xfrm>
          <a:prstGeom prst="rect">
            <a:avLst/>
          </a:prstGeom>
        </p:spPr>
      </p:pic>
      <p:pic>
        <p:nvPicPr>
          <p:cNvPr id="373" name="Picture 372">
            <a:extLst>
              <a:ext uri="{FF2B5EF4-FFF2-40B4-BE49-F238E27FC236}">
                <a16:creationId xmlns:a16="http://schemas.microsoft.com/office/drawing/2014/main" id="{6D1F0EF2-02F2-AF50-8351-4FD1E11D6647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110148" y="5903664"/>
            <a:ext cx="386814" cy="124746"/>
          </a:xfrm>
          <a:prstGeom prst="rect">
            <a:avLst/>
          </a:prstGeom>
        </p:spPr>
      </p:pic>
      <p:pic>
        <p:nvPicPr>
          <p:cNvPr id="374" name="Picture 373">
            <a:extLst>
              <a:ext uri="{FF2B5EF4-FFF2-40B4-BE49-F238E27FC236}">
                <a16:creationId xmlns:a16="http://schemas.microsoft.com/office/drawing/2014/main" id="{F6CAD88E-89B5-D9A3-EAA7-B9283AFD8ADA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10685026" y="5905407"/>
            <a:ext cx="507261" cy="131439"/>
          </a:xfrm>
          <a:prstGeom prst="rect">
            <a:avLst/>
          </a:prstGeom>
        </p:spPr>
      </p:pic>
      <p:pic>
        <p:nvPicPr>
          <p:cNvPr id="375" name="Picture 374">
            <a:extLst>
              <a:ext uri="{FF2B5EF4-FFF2-40B4-BE49-F238E27FC236}">
                <a16:creationId xmlns:a16="http://schemas.microsoft.com/office/drawing/2014/main" id="{E7AEF7AB-3E3B-C246-5709-55D5588D54DD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11380352" y="5931776"/>
            <a:ext cx="313979" cy="105070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0EC70456-C1E6-EADB-ADF6-20C51EF83347}"/>
              </a:ext>
            </a:extLst>
          </p:cNvPr>
          <p:cNvSpPr txBox="1">
            <a:spLocks/>
          </p:cNvSpPr>
          <p:nvPr/>
        </p:nvSpPr>
        <p:spPr>
          <a:xfrm>
            <a:off x="330729" y="227013"/>
            <a:ext cx="11515725" cy="42386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Birlasoft Cogito Agentic AI Practice – Trusted Innovation Partner</a:t>
            </a:r>
          </a:p>
        </p:txBody>
      </p:sp>
    </p:spTree>
    <p:extLst>
      <p:ext uri="{BB962C8B-B14F-4D97-AF65-F5344CB8AC3E}">
        <p14:creationId xmlns:p14="http://schemas.microsoft.com/office/powerpoint/2010/main" val="32407825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7DC568-D2FC-F700-F2C8-A9BA76E6B2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TextBox 124">
            <a:extLst>
              <a:ext uri="{FF2B5EF4-FFF2-40B4-BE49-F238E27FC236}">
                <a16:creationId xmlns:a16="http://schemas.microsoft.com/office/drawing/2014/main" id="{FE303645-2F8C-E6F0-E460-ACC9081204AC}"/>
              </a:ext>
            </a:extLst>
          </p:cNvPr>
          <p:cNvSpPr txBox="1"/>
          <p:nvPr/>
        </p:nvSpPr>
        <p:spPr>
          <a:xfrm>
            <a:off x="2557325" y="1817009"/>
            <a:ext cx="1805069" cy="245932"/>
          </a:xfrm>
          <a:prstGeom prst="rect">
            <a:avLst/>
          </a:prstGeom>
          <a:noFill/>
          <a:effectLst/>
        </p:spPr>
        <p:txBody>
          <a:bodyPr wrap="square" lIns="36000" tIns="36000" rIns="3600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-to-End SDLC Coverage</a:t>
            </a:r>
            <a:endParaRPr kumimoji="0" lang="en-IN" sz="1200" b="1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AA2503F7-0FDC-9004-EFDE-8C15E6B6FC04}"/>
              </a:ext>
            </a:extLst>
          </p:cNvPr>
          <p:cNvGrpSpPr/>
          <p:nvPr/>
        </p:nvGrpSpPr>
        <p:grpSpPr>
          <a:xfrm>
            <a:off x="4679072" y="1810262"/>
            <a:ext cx="4316197" cy="3657935"/>
            <a:chOff x="3726363" y="1927966"/>
            <a:chExt cx="4316197" cy="3657935"/>
          </a:xfrm>
        </p:grpSpPr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35FCA72-AA1A-E667-E13D-C6E2B0591A7E}"/>
                </a:ext>
              </a:extLst>
            </p:cNvPr>
            <p:cNvSpPr/>
            <p:nvPr/>
          </p:nvSpPr>
          <p:spPr>
            <a:xfrm rot="20874397">
              <a:off x="5765155" y="1927966"/>
              <a:ext cx="1487489" cy="667613"/>
            </a:xfrm>
            <a:custGeom>
              <a:avLst/>
              <a:gdLst>
                <a:gd name="connsiteX0" fmla="*/ 844163 w 1487489"/>
                <a:gd name="connsiteY0" fmla="*/ 115115 h 667613"/>
                <a:gd name="connsiteX1" fmla="*/ 1453921 w 1487489"/>
                <a:gd name="connsiteY1" fmla="*/ 318912 h 667613"/>
                <a:gd name="connsiteX2" fmla="*/ 1487489 w 1487489"/>
                <a:gd name="connsiteY2" fmla="*/ 336027 h 667613"/>
                <a:gd name="connsiteX3" fmla="*/ 1214191 w 1487489"/>
                <a:gd name="connsiteY3" fmla="*/ 667613 h 667613"/>
                <a:gd name="connsiteX4" fmla="*/ 1172819 w 1487489"/>
                <a:gd name="connsiteY4" fmla="*/ 643020 h 667613"/>
                <a:gd name="connsiteX5" fmla="*/ 216901 w 1487489"/>
                <a:gd name="connsiteY5" fmla="*/ 507877 h 667613"/>
                <a:gd name="connsiteX6" fmla="*/ 0 w 1487489"/>
                <a:gd name="connsiteY6" fmla="*/ 525989 h 667613"/>
                <a:gd name="connsiteX7" fmla="*/ 112699 w 1487489"/>
                <a:gd name="connsiteY7" fmla="*/ 0 h 667613"/>
                <a:gd name="connsiteX8" fmla="*/ 134627 w 1487489"/>
                <a:gd name="connsiteY8" fmla="*/ 1358 h 667613"/>
                <a:gd name="connsiteX9" fmla="*/ 844163 w 1487489"/>
                <a:gd name="connsiteY9" fmla="*/ 115115 h 667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7489" h="667613">
                  <a:moveTo>
                    <a:pt x="844163" y="115115"/>
                  </a:moveTo>
                  <a:cubicBezTo>
                    <a:pt x="1068611" y="168114"/>
                    <a:pt x="1276431" y="236118"/>
                    <a:pt x="1453921" y="318912"/>
                  </a:cubicBezTo>
                  <a:lnTo>
                    <a:pt x="1487489" y="336027"/>
                  </a:lnTo>
                  <a:lnTo>
                    <a:pt x="1214191" y="667613"/>
                  </a:lnTo>
                  <a:lnTo>
                    <a:pt x="1172819" y="643020"/>
                  </a:lnTo>
                  <a:cubicBezTo>
                    <a:pt x="947850" y="526831"/>
                    <a:pt x="593658" y="488593"/>
                    <a:pt x="216901" y="507877"/>
                  </a:cubicBezTo>
                  <a:lnTo>
                    <a:pt x="0" y="525989"/>
                  </a:lnTo>
                  <a:lnTo>
                    <a:pt x="112699" y="0"/>
                  </a:lnTo>
                  <a:lnTo>
                    <a:pt x="134627" y="1358"/>
                  </a:lnTo>
                  <a:cubicBezTo>
                    <a:pt x="378637" y="24125"/>
                    <a:pt x="619715" y="62117"/>
                    <a:pt x="844163" y="115115"/>
                  </a:cubicBezTo>
                  <a:close/>
                </a:path>
              </a:pathLst>
            </a:custGeom>
            <a:solidFill>
              <a:srgbClr val="F6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DE100E01-40F8-882D-B820-A1EDBFF8DAA9}"/>
                </a:ext>
              </a:extLst>
            </p:cNvPr>
            <p:cNvSpPr/>
            <p:nvPr/>
          </p:nvSpPr>
          <p:spPr>
            <a:xfrm rot="20874397">
              <a:off x="4429690" y="2198670"/>
              <a:ext cx="1404547" cy="695259"/>
            </a:xfrm>
            <a:custGeom>
              <a:avLst/>
              <a:gdLst>
                <a:gd name="connsiteX0" fmla="*/ 1404547 w 1404547"/>
                <a:gd name="connsiteY0" fmla="*/ 19584 h 695259"/>
                <a:gd name="connsiteX1" fmla="*/ 1289013 w 1404547"/>
                <a:gd name="connsiteY1" fmla="*/ 558808 h 695259"/>
                <a:gd name="connsiteX2" fmla="*/ 1075068 w 1404547"/>
                <a:gd name="connsiteY2" fmla="*/ 589970 h 695259"/>
                <a:gd name="connsiteX3" fmla="*/ 829420 w 1404547"/>
                <a:gd name="connsiteY3" fmla="*/ 641175 h 695259"/>
                <a:gd name="connsiteX4" fmla="*/ 634634 w 1404547"/>
                <a:gd name="connsiteY4" fmla="*/ 695259 h 695259"/>
                <a:gd name="connsiteX5" fmla="*/ 0 w 1404547"/>
                <a:gd name="connsiteY5" fmla="*/ 97428 h 695259"/>
                <a:gd name="connsiteX6" fmla="*/ 109469 w 1404547"/>
                <a:gd name="connsiteY6" fmla="*/ 73278 h 695259"/>
                <a:gd name="connsiteX7" fmla="*/ 1132640 w 1404547"/>
                <a:gd name="connsiteY7" fmla="*/ 2739 h 695259"/>
                <a:gd name="connsiteX8" fmla="*/ 1404547 w 1404547"/>
                <a:gd name="connsiteY8" fmla="*/ 19584 h 69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4547" h="695259">
                  <a:moveTo>
                    <a:pt x="1404547" y="19584"/>
                  </a:moveTo>
                  <a:lnTo>
                    <a:pt x="1289013" y="558808"/>
                  </a:lnTo>
                  <a:lnTo>
                    <a:pt x="1075068" y="589970"/>
                  </a:lnTo>
                  <a:cubicBezTo>
                    <a:pt x="991569" y="604721"/>
                    <a:pt x="909296" y="621864"/>
                    <a:pt x="829420" y="641175"/>
                  </a:cubicBezTo>
                  <a:lnTo>
                    <a:pt x="634634" y="695259"/>
                  </a:lnTo>
                  <a:lnTo>
                    <a:pt x="0" y="97428"/>
                  </a:lnTo>
                  <a:lnTo>
                    <a:pt x="109469" y="73278"/>
                  </a:lnTo>
                  <a:cubicBezTo>
                    <a:pt x="410896" y="14774"/>
                    <a:pt x="767362" y="-8493"/>
                    <a:pt x="1132640" y="2739"/>
                  </a:cubicBezTo>
                  <a:lnTo>
                    <a:pt x="1404547" y="19584"/>
                  </a:lnTo>
                  <a:close/>
                </a:path>
              </a:pathLst>
            </a:custGeom>
            <a:solidFill>
              <a:srgbClr val="DA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B4C9A3F-E2EE-6E16-1203-9FBC257CD41E}"/>
                </a:ext>
              </a:extLst>
            </p:cNvPr>
            <p:cNvSpPr/>
            <p:nvPr/>
          </p:nvSpPr>
          <p:spPr>
            <a:xfrm rot="20874397">
              <a:off x="7146277" y="2096441"/>
              <a:ext cx="730981" cy="1146795"/>
            </a:xfrm>
            <a:custGeom>
              <a:avLst/>
              <a:gdLst>
                <a:gd name="connsiteX0" fmla="*/ 279812 w 730981"/>
                <a:gd name="connsiteY0" fmla="*/ 0 h 1146795"/>
                <a:gd name="connsiteX1" fmla="*/ 307766 w 730981"/>
                <a:gd name="connsiteY1" fmla="*/ 14252 h 1146795"/>
                <a:gd name="connsiteX2" fmla="*/ 728321 w 730981"/>
                <a:gd name="connsiteY2" fmla="*/ 421043 h 1146795"/>
                <a:gd name="connsiteX3" fmla="*/ 727440 w 730981"/>
                <a:gd name="connsiteY3" fmla="*/ 664188 h 1146795"/>
                <a:gd name="connsiteX4" fmla="*/ 703751 w 730981"/>
                <a:gd name="connsiteY4" fmla="*/ 898938 h 1146795"/>
                <a:gd name="connsiteX5" fmla="*/ 114264 w 730981"/>
                <a:gd name="connsiteY5" fmla="*/ 1146795 h 1146795"/>
                <a:gd name="connsiteX6" fmla="*/ 123772 w 730981"/>
                <a:gd name="connsiteY6" fmla="*/ 1083538 h 1146795"/>
                <a:gd name="connsiteX7" fmla="*/ 77390 w 730981"/>
                <a:gd name="connsiteY7" fmla="*/ 416426 h 1146795"/>
                <a:gd name="connsiteX8" fmla="*/ 29110 w 730981"/>
                <a:gd name="connsiteY8" fmla="*/ 362728 h 1146795"/>
                <a:gd name="connsiteX9" fmla="*/ 0 w 730981"/>
                <a:gd name="connsiteY9" fmla="*/ 339488 h 1146795"/>
                <a:gd name="connsiteX10" fmla="*/ 279812 w 730981"/>
                <a:gd name="connsiteY10" fmla="*/ 0 h 1146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0981" h="1146795">
                  <a:moveTo>
                    <a:pt x="279812" y="0"/>
                  </a:moveTo>
                  <a:lnTo>
                    <a:pt x="307766" y="14252"/>
                  </a:lnTo>
                  <a:cubicBezTo>
                    <a:pt x="509606" y="126969"/>
                    <a:pt x="658709" y="262708"/>
                    <a:pt x="728321" y="421043"/>
                  </a:cubicBezTo>
                  <a:cubicBezTo>
                    <a:pt x="732177" y="501233"/>
                    <a:pt x="731806" y="582444"/>
                    <a:pt x="727440" y="664188"/>
                  </a:cubicBezTo>
                  <a:lnTo>
                    <a:pt x="703751" y="898938"/>
                  </a:lnTo>
                  <a:lnTo>
                    <a:pt x="114264" y="1146795"/>
                  </a:lnTo>
                  <a:lnTo>
                    <a:pt x="123772" y="1083538"/>
                  </a:lnTo>
                  <a:cubicBezTo>
                    <a:pt x="148377" y="855916"/>
                    <a:pt x="134717" y="626002"/>
                    <a:pt x="77390" y="416426"/>
                  </a:cubicBezTo>
                  <a:cubicBezTo>
                    <a:pt x="63282" y="397489"/>
                    <a:pt x="47140" y="379600"/>
                    <a:pt x="29110" y="362728"/>
                  </a:cubicBezTo>
                  <a:lnTo>
                    <a:pt x="0" y="339488"/>
                  </a:lnTo>
                  <a:lnTo>
                    <a:pt x="279812" y="0"/>
                  </a:lnTo>
                  <a:close/>
                </a:path>
              </a:pathLst>
            </a:custGeom>
            <a:solidFill>
              <a:srgbClr val="FF2D2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515E8BBA-3EB2-F9EE-1EB1-247DE9A1BAAF}"/>
                </a:ext>
              </a:extLst>
            </p:cNvPr>
            <p:cNvSpPr/>
            <p:nvPr/>
          </p:nvSpPr>
          <p:spPr>
            <a:xfrm rot="20874397">
              <a:off x="3726363" y="2481481"/>
              <a:ext cx="1332806" cy="983809"/>
            </a:xfrm>
            <a:custGeom>
              <a:avLst/>
              <a:gdLst>
                <a:gd name="connsiteX0" fmla="*/ 693729 w 1332806"/>
                <a:gd name="connsiteY0" fmla="*/ 0 h 983809"/>
                <a:gd name="connsiteX1" fmla="*/ 1332806 w 1332806"/>
                <a:gd name="connsiteY1" fmla="*/ 602016 h 983809"/>
                <a:gd name="connsiteX2" fmla="*/ 1164695 w 1332806"/>
                <a:gd name="connsiteY2" fmla="*/ 662797 h 983809"/>
                <a:gd name="connsiteX3" fmla="*/ 733770 w 1332806"/>
                <a:gd name="connsiteY3" fmla="*/ 946950 h 983809"/>
                <a:gd name="connsiteX4" fmla="*/ 710744 w 1332806"/>
                <a:gd name="connsiteY4" fmla="*/ 983809 h 983809"/>
                <a:gd name="connsiteX5" fmla="*/ 0 w 1332806"/>
                <a:gd name="connsiteY5" fmla="*/ 718642 h 983809"/>
                <a:gd name="connsiteX6" fmla="*/ 5384 w 1332806"/>
                <a:gd name="connsiteY6" fmla="*/ 677217 h 983809"/>
                <a:gd name="connsiteX7" fmla="*/ 51425 w 1332806"/>
                <a:gd name="connsiteY7" fmla="*/ 544372 h 983809"/>
                <a:gd name="connsiteX8" fmla="*/ 604501 w 1332806"/>
                <a:gd name="connsiteY8" fmla="*/ 25087 h 983809"/>
                <a:gd name="connsiteX9" fmla="*/ 693729 w 1332806"/>
                <a:gd name="connsiteY9" fmla="*/ 0 h 98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2806" h="983809">
                  <a:moveTo>
                    <a:pt x="693729" y="0"/>
                  </a:moveTo>
                  <a:lnTo>
                    <a:pt x="1332806" y="602016"/>
                  </a:lnTo>
                  <a:lnTo>
                    <a:pt x="1164695" y="662797"/>
                  </a:lnTo>
                  <a:cubicBezTo>
                    <a:pt x="967878" y="744056"/>
                    <a:pt x="813702" y="840792"/>
                    <a:pt x="733770" y="946950"/>
                  </a:cubicBezTo>
                  <a:lnTo>
                    <a:pt x="710744" y="983809"/>
                  </a:lnTo>
                  <a:lnTo>
                    <a:pt x="0" y="718642"/>
                  </a:lnTo>
                  <a:lnTo>
                    <a:pt x="5384" y="677217"/>
                  </a:lnTo>
                  <a:cubicBezTo>
                    <a:pt x="16361" y="629155"/>
                    <a:pt x="31667" y="584682"/>
                    <a:pt x="51425" y="544372"/>
                  </a:cubicBezTo>
                  <a:cubicBezTo>
                    <a:pt x="37487" y="307036"/>
                    <a:pt x="258372" y="134522"/>
                    <a:pt x="604501" y="25087"/>
                  </a:cubicBezTo>
                  <a:lnTo>
                    <a:pt x="693729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47894D03-53D9-FE96-D236-CEC0CC9F2BF5}"/>
                </a:ext>
              </a:extLst>
            </p:cNvPr>
            <p:cNvSpPr/>
            <p:nvPr/>
          </p:nvSpPr>
          <p:spPr>
            <a:xfrm rot="20874397">
              <a:off x="7148063" y="3084182"/>
              <a:ext cx="894497" cy="1136688"/>
            </a:xfrm>
            <a:custGeom>
              <a:avLst/>
              <a:gdLst>
                <a:gd name="connsiteX0" fmla="*/ 894497 w 894497"/>
                <a:gd name="connsiteY0" fmla="*/ 0 h 1136688"/>
                <a:gd name="connsiteX1" fmla="*/ 861060 w 894497"/>
                <a:gd name="connsiteY1" fmla="*/ 173725 h 1136688"/>
                <a:gd name="connsiteX2" fmla="*/ 472476 w 894497"/>
                <a:gd name="connsiteY2" fmla="*/ 1104642 h 1136688"/>
                <a:gd name="connsiteX3" fmla="*/ 450512 w 894497"/>
                <a:gd name="connsiteY3" fmla="*/ 1136688 h 1136688"/>
                <a:gd name="connsiteX4" fmla="*/ 0 w 894497"/>
                <a:gd name="connsiteY4" fmla="*/ 1001155 h 1136688"/>
                <a:gd name="connsiteX5" fmla="*/ 68638 w 894497"/>
                <a:gd name="connsiteY5" fmla="*/ 898751 h 1136688"/>
                <a:gd name="connsiteX6" fmla="*/ 304175 w 894497"/>
                <a:gd name="connsiteY6" fmla="*/ 270036 h 1136688"/>
                <a:gd name="connsiteX7" fmla="*/ 307678 w 894497"/>
                <a:gd name="connsiteY7" fmla="*/ 246734 h 1136688"/>
                <a:gd name="connsiteX8" fmla="*/ 894497 w 894497"/>
                <a:gd name="connsiteY8" fmla="*/ 0 h 1136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4497" h="1136688">
                  <a:moveTo>
                    <a:pt x="894497" y="0"/>
                  </a:moveTo>
                  <a:lnTo>
                    <a:pt x="861060" y="173725"/>
                  </a:lnTo>
                  <a:cubicBezTo>
                    <a:pt x="783304" y="501450"/>
                    <a:pt x="648908" y="822140"/>
                    <a:pt x="472476" y="1104642"/>
                  </a:cubicBezTo>
                  <a:lnTo>
                    <a:pt x="450512" y="1136688"/>
                  </a:lnTo>
                  <a:lnTo>
                    <a:pt x="0" y="1001155"/>
                  </a:lnTo>
                  <a:lnTo>
                    <a:pt x="68638" y="898751"/>
                  </a:lnTo>
                  <a:cubicBezTo>
                    <a:pt x="180463" y="712213"/>
                    <a:pt x="260776" y="495099"/>
                    <a:pt x="304175" y="270036"/>
                  </a:cubicBezTo>
                  <a:lnTo>
                    <a:pt x="307678" y="246734"/>
                  </a:lnTo>
                  <a:lnTo>
                    <a:pt x="894497" y="0"/>
                  </a:lnTo>
                  <a:close/>
                </a:path>
              </a:pathLst>
            </a:custGeom>
            <a:solidFill>
              <a:srgbClr val="FF4F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85AF8B5F-7CF3-04FD-79EA-179C4F49AF20}"/>
                </a:ext>
              </a:extLst>
            </p:cNvPr>
            <p:cNvSpPr/>
            <p:nvPr/>
          </p:nvSpPr>
          <p:spPr>
            <a:xfrm rot="20874397">
              <a:off x="3873047" y="3322261"/>
              <a:ext cx="740772" cy="884542"/>
            </a:xfrm>
            <a:custGeom>
              <a:avLst/>
              <a:gdLst>
                <a:gd name="connsiteX0" fmla="*/ 6223 w 740772"/>
                <a:gd name="connsiteY0" fmla="*/ 0 h 884542"/>
                <a:gd name="connsiteX1" fmla="*/ 697756 w 740772"/>
                <a:gd name="connsiteY1" fmla="*/ 257998 h 884542"/>
                <a:gd name="connsiteX2" fmla="*/ 695508 w 740772"/>
                <a:gd name="connsiteY2" fmla="*/ 264091 h 884542"/>
                <a:gd name="connsiteX3" fmla="*/ 698012 w 740772"/>
                <a:gd name="connsiteY3" fmla="*/ 378104 h 884542"/>
                <a:gd name="connsiteX4" fmla="*/ 723601 w 740772"/>
                <a:gd name="connsiteY4" fmla="*/ 690225 h 884542"/>
                <a:gd name="connsiteX5" fmla="*/ 740772 w 740772"/>
                <a:gd name="connsiteY5" fmla="*/ 733350 h 884542"/>
                <a:gd name="connsiteX6" fmla="*/ 203455 w 740772"/>
                <a:gd name="connsiteY6" fmla="*/ 884542 h 884542"/>
                <a:gd name="connsiteX7" fmla="*/ 165749 w 740772"/>
                <a:gd name="connsiteY7" fmla="*/ 804069 h 884542"/>
                <a:gd name="connsiteX8" fmla="*/ 1067 w 740772"/>
                <a:gd name="connsiteY8" fmla="*/ 39667 h 884542"/>
                <a:gd name="connsiteX9" fmla="*/ 6223 w 740772"/>
                <a:gd name="connsiteY9" fmla="*/ 0 h 884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0772" h="884542">
                  <a:moveTo>
                    <a:pt x="6223" y="0"/>
                  </a:moveTo>
                  <a:lnTo>
                    <a:pt x="697756" y="257998"/>
                  </a:lnTo>
                  <a:lnTo>
                    <a:pt x="695508" y="264091"/>
                  </a:lnTo>
                  <a:cubicBezTo>
                    <a:pt x="686533" y="301347"/>
                    <a:pt x="686978" y="339426"/>
                    <a:pt x="698012" y="378104"/>
                  </a:cubicBezTo>
                  <a:cubicBezTo>
                    <a:pt x="675283" y="466324"/>
                    <a:pt x="685318" y="573601"/>
                    <a:pt x="723601" y="690225"/>
                  </a:cubicBezTo>
                  <a:lnTo>
                    <a:pt x="740772" y="733350"/>
                  </a:lnTo>
                  <a:lnTo>
                    <a:pt x="203455" y="884542"/>
                  </a:lnTo>
                  <a:lnTo>
                    <a:pt x="165749" y="804069"/>
                  </a:lnTo>
                  <a:cubicBezTo>
                    <a:pt x="48817" y="525339"/>
                    <a:pt x="-8704" y="258351"/>
                    <a:pt x="1067" y="39667"/>
                  </a:cubicBezTo>
                  <a:lnTo>
                    <a:pt x="6223" y="0"/>
                  </a:lnTo>
                  <a:close/>
                </a:path>
              </a:pathLst>
            </a:custGeom>
            <a:solidFill>
              <a:srgbClr val="FFD5D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770997E5-136F-C8EE-EEFE-1FFC4D679DC1}"/>
                </a:ext>
              </a:extLst>
            </p:cNvPr>
            <p:cNvSpPr/>
            <p:nvPr/>
          </p:nvSpPr>
          <p:spPr>
            <a:xfrm rot="20874397">
              <a:off x="4286550" y="4031224"/>
              <a:ext cx="958036" cy="1065591"/>
            </a:xfrm>
            <a:custGeom>
              <a:avLst/>
              <a:gdLst>
                <a:gd name="connsiteX0" fmla="*/ 533133 w 958036"/>
                <a:gd name="connsiteY0" fmla="*/ 0 h 1065591"/>
                <a:gd name="connsiteX1" fmla="*/ 536714 w 958036"/>
                <a:gd name="connsiteY1" fmla="*/ 8992 h 1065591"/>
                <a:gd name="connsiteX2" fmla="*/ 895088 w 958036"/>
                <a:gd name="connsiteY2" fmla="*/ 505646 h 1065591"/>
                <a:gd name="connsiteX3" fmla="*/ 958036 w 958036"/>
                <a:gd name="connsiteY3" fmla="*/ 564379 h 1065591"/>
                <a:gd name="connsiteX4" fmla="*/ 669434 w 958036"/>
                <a:gd name="connsiteY4" fmla="*/ 1065591 h 1065591"/>
                <a:gd name="connsiteX5" fmla="*/ 632921 w 958036"/>
                <a:gd name="connsiteY5" fmla="*/ 1032334 h 1065591"/>
                <a:gd name="connsiteX6" fmla="*/ 30045 w 958036"/>
                <a:gd name="connsiteY6" fmla="*/ 214136 h 1065591"/>
                <a:gd name="connsiteX7" fmla="*/ 0 w 958036"/>
                <a:gd name="connsiteY7" fmla="*/ 150014 h 1065591"/>
                <a:gd name="connsiteX8" fmla="*/ 533133 w 958036"/>
                <a:gd name="connsiteY8" fmla="*/ 0 h 106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8036" h="1065591">
                  <a:moveTo>
                    <a:pt x="533133" y="0"/>
                  </a:moveTo>
                  <a:lnTo>
                    <a:pt x="536714" y="8992"/>
                  </a:lnTo>
                  <a:cubicBezTo>
                    <a:pt x="612198" y="171359"/>
                    <a:pt x="735225" y="344583"/>
                    <a:pt x="895088" y="505646"/>
                  </a:cubicBezTo>
                  <a:lnTo>
                    <a:pt x="958036" y="564379"/>
                  </a:lnTo>
                  <a:lnTo>
                    <a:pt x="669434" y="1065591"/>
                  </a:lnTo>
                  <a:lnTo>
                    <a:pt x="632921" y="1032334"/>
                  </a:lnTo>
                  <a:cubicBezTo>
                    <a:pt x="379774" y="781371"/>
                    <a:pt x="176189" y="496452"/>
                    <a:pt x="30045" y="214136"/>
                  </a:cubicBezTo>
                  <a:lnTo>
                    <a:pt x="0" y="150014"/>
                  </a:lnTo>
                  <a:lnTo>
                    <a:pt x="533133" y="0"/>
                  </a:lnTo>
                  <a:close/>
                </a:path>
              </a:pathLst>
            </a:custGeom>
            <a:solidFill>
              <a:srgbClr val="FFA3A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9AD3A9A8-59D0-A912-00E3-2747A36336EA}"/>
                </a:ext>
              </a:extLst>
            </p:cNvPr>
            <p:cNvSpPr/>
            <p:nvPr/>
          </p:nvSpPr>
          <p:spPr>
            <a:xfrm rot="20874397">
              <a:off x="6476908" y="4269287"/>
              <a:ext cx="1305205" cy="1025103"/>
            </a:xfrm>
            <a:custGeom>
              <a:avLst/>
              <a:gdLst>
                <a:gd name="connsiteX0" fmla="*/ 851252 w 1305205"/>
                <a:gd name="connsiteY0" fmla="*/ 0 h 1025103"/>
                <a:gd name="connsiteX1" fmla="*/ 1305205 w 1305205"/>
                <a:gd name="connsiteY1" fmla="*/ 136568 h 1025103"/>
                <a:gd name="connsiteX2" fmla="*/ 1229912 w 1305205"/>
                <a:gd name="connsiteY2" fmla="*/ 246420 h 1025103"/>
                <a:gd name="connsiteX3" fmla="*/ 30364 w 1305205"/>
                <a:gd name="connsiteY3" fmla="*/ 1023228 h 1025103"/>
                <a:gd name="connsiteX4" fmla="*/ 0 w 1305205"/>
                <a:gd name="connsiteY4" fmla="*/ 1025103 h 1025103"/>
                <a:gd name="connsiteX5" fmla="*/ 20841 w 1305205"/>
                <a:gd name="connsiteY5" fmla="*/ 400532 h 1025103"/>
                <a:gd name="connsiteX6" fmla="*/ 118411 w 1305205"/>
                <a:gd name="connsiteY6" fmla="*/ 413426 h 1025103"/>
                <a:gd name="connsiteX7" fmla="*/ 775357 w 1305205"/>
                <a:gd name="connsiteY7" fmla="*/ 90342 h 1025103"/>
                <a:gd name="connsiteX8" fmla="*/ 851252 w 1305205"/>
                <a:gd name="connsiteY8" fmla="*/ 0 h 102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5205" h="1025103">
                  <a:moveTo>
                    <a:pt x="851252" y="0"/>
                  </a:moveTo>
                  <a:lnTo>
                    <a:pt x="1305205" y="136568"/>
                  </a:lnTo>
                  <a:lnTo>
                    <a:pt x="1229912" y="246420"/>
                  </a:lnTo>
                  <a:cubicBezTo>
                    <a:pt x="910539" y="671301"/>
                    <a:pt x="489801" y="974787"/>
                    <a:pt x="30364" y="1023228"/>
                  </a:cubicBezTo>
                  <a:lnTo>
                    <a:pt x="0" y="1025103"/>
                  </a:lnTo>
                  <a:lnTo>
                    <a:pt x="20841" y="400532"/>
                  </a:lnTo>
                  <a:lnTo>
                    <a:pt x="118411" y="413426"/>
                  </a:lnTo>
                  <a:cubicBezTo>
                    <a:pt x="375375" y="400649"/>
                    <a:pt x="597874" y="278223"/>
                    <a:pt x="775357" y="90342"/>
                  </a:cubicBezTo>
                  <a:lnTo>
                    <a:pt x="851252" y="0"/>
                  </a:lnTo>
                  <a:close/>
                </a:path>
              </a:pathLst>
            </a:custGeom>
            <a:solidFill>
              <a:srgbClr val="FF757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4D01D66-A126-A936-2C48-C4FFE234A11C}"/>
                </a:ext>
              </a:extLst>
            </p:cNvPr>
            <p:cNvSpPr/>
            <p:nvPr/>
          </p:nvSpPr>
          <p:spPr>
            <a:xfrm rot="20874397">
              <a:off x="5127418" y="4442203"/>
              <a:ext cx="1317444" cy="1143698"/>
            </a:xfrm>
            <a:custGeom>
              <a:avLst/>
              <a:gdLst>
                <a:gd name="connsiteX0" fmla="*/ 288149 w 1317444"/>
                <a:gd name="connsiteY0" fmla="*/ 0 h 1143698"/>
                <a:gd name="connsiteX1" fmla="*/ 297792 w 1317444"/>
                <a:gd name="connsiteY1" fmla="*/ 8997 h 1143698"/>
                <a:gd name="connsiteX2" fmla="*/ 1291505 w 1317444"/>
                <a:gd name="connsiteY2" fmla="*/ 501305 h 1143698"/>
                <a:gd name="connsiteX3" fmla="*/ 1317444 w 1317444"/>
                <a:gd name="connsiteY3" fmla="*/ 504733 h 1143698"/>
                <a:gd name="connsiteX4" fmla="*/ 1296138 w 1317444"/>
                <a:gd name="connsiteY4" fmla="*/ 1143244 h 1143698"/>
                <a:gd name="connsiteX5" fmla="*/ 1292008 w 1317444"/>
                <a:gd name="connsiteY5" fmla="*/ 1143499 h 1143698"/>
                <a:gd name="connsiteX6" fmla="*/ 1075207 w 1317444"/>
                <a:gd name="connsiteY6" fmla="*/ 1128055 h 1143698"/>
                <a:gd name="connsiteX7" fmla="*/ 108015 w 1317444"/>
                <a:gd name="connsiteY7" fmla="*/ 598810 h 1143698"/>
                <a:gd name="connsiteX8" fmla="*/ 0 w 1317444"/>
                <a:gd name="connsiteY8" fmla="*/ 500426 h 1143698"/>
                <a:gd name="connsiteX9" fmla="*/ 288149 w 1317444"/>
                <a:gd name="connsiteY9" fmla="*/ 0 h 114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7444" h="1143698">
                  <a:moveTo>
                    <a:pt x="288149" y="0"/>
                  </a:moveTo>
                  <a:lnTo>
                    <a:pt x="297792" y="8997"/>
                  </a:lnTo>
                  <a:cubicBezTo>
                    <a:pt x="564211" y="239312"/>
                    <a:pt x="907492" y="429314"/>
                    <a:pt x="1291505" y="501305"/>
                  </a:cubicBezTo>
                  <a:lnTo>
                    <a:pt x="1317444" y="504733"/>
                  </a:lnTo>
                  <a:lnTo>
                    <a:pt x="1296138" y="1143244"/>
                  </a:lnTo>
                  <a:lnTo>
                    <a:pt x="1292008" y="1143499"/>
                  </a:lnTo>
                  <a:cubicBezTo>
                    <a:pt x="1220467" y="1144793"/>
                    <a:pt x="1148124" y="1139807"/>
                    <a:pt x="1075207" y="1128055"/>
                  </a:cubicBezTo>
                  <a:cubicBezTo>
                    <a:pt x="710472" y="1019109"/>
                    <a:pt x="385448" y="830508"/>
                    <a:pt x="108015" y="598810"/>
                  </a:cubicBezTo>
                  <a:lnTo>
                    <a:pt x="0" y="500426"/>
                  </a:lnTo>
                  <a:lnTo>
                    <a:pt x="288149" y="0"/>
                  </a:lnTo>
                  <a:close/>
                </a:path>
              </a:pathLst>
            </a:custGeom>
            <a:solidFill>
              <a:srgbClr val="FF898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4" name="Graphic 113">
              <a:extLst>
                <a:ext uri="{FF2B5EF4-FFF2-40B4-BE49-F238E27FC236}">
                  <a16:creationId xmlns:a16="http://schemas.microsoft.com/office/drawing/2014/main" id="{7C542F7D-6CFB-AB86-062F-BED069F9459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778538" y="3211935"/>
              <a:ext cx="2283674" cy="802249"/>
            </a:xfrm>
            <a:prstGeom prst="rect">
              <a:avLst/>
            </a:prstGeom>
          </p:spPr>
        </p:pic>
        <p:pic>
          <p:nvPicPr>
            <p:cNvPr id="115" name="Picture 114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6B2089BE-C667-62D6-7F68-32BCFF40E9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7481" y="2743990"/>
              <a:ext cx="396000" cy="396000"/>
            </a:xfrm>
            <a:prstGeom prst="rect">
              <a:avLst/>
            </a:prstGeom>
          </p:spPr>
        </p:pic>
        <p:pic>
          <p:nvPicPr>
            <p:cNvPr id="116" name="Picture 115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23A81D6E-8BD4-380C-761F-DEBA22FDC6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3366" y="2287461"/>
              <a:ext cx="396000" cy="396000"/>
            </a:xfrm>
            <a:prstGeom prst="rect">
              <a:avLst/>
            </a:prstGeom>
          </p:spPr>
        </p:pic>
        <p:pic>
          <p:nvPicPr>
            <p:cNvPr id="117" name="Picture 116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99B4945D-E874-EEF2-4A66-DD167463F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5385" y="2010788"/>
              <a:ext cx="396000" cy="396000"/>
            </a:xfrm>
            <a:prstGeom prst="rect">
              <a:avLst/>
            </a:prstGeom>
          </p:spPr>
        </p:pic>
        <p:pic>
          <p:nvPicPr>
            <p:cNvPr id="118" name="Picture 117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FCF9DE75-DE0A-E290-49FD-7BFDCF35B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66858" y="2430527"/>
              <a:ext cx="396000" cy="396000"/>
            </a:xfrm>
            <a:prstGeom prst="rect">
              <a:avLst/>
            </a:prstGeom>
          </p:spPr>
        </p:pic>
        <p:pic>
          <p:nvPicPr>
            <p:cNvPr id="119" name="Picture 118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13DE93D6-8DB9-FE6E-8F0B-D505F2E855D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6226" y="3480886"/>
              <a:ext cx="396000" cy="396000"/>
            </a:xfrm>
            <a:prstGeom prst="rect">
              <a:avLst/>
            </a:prstGeom>
          </p:spPr>
        </p:pic>
        <p:pic>
          <p:nvPicPr>
            <p:cNvPr id="120" name="Picture 119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423803F8-F08D-337A-9BC8-1843CE26A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7642" y="4577736"/>
              <a:ext cx="396000" cy="396000"/>
            </a:xfrm>
            <a:prstGeom prst="rect">
              <a:avLst/>
            </a:prstGeom>
          </p:spPr>
        </p:pic>
        <p:pic>
          <p:nvPicPr>
            <p:cNvPr id="121" name="Picture 120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6A6942ED-CB8C-9596-8B9A-54A596840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637" y="4850526"/>
              <a:ext cx="396000" cy="396000"/>
            </a:xfrm>
            <a:prstGeom prst="rect">
              <a:avLst/>
            </a:prstGeom>
          </p:spPr>
        </p:pic>
        <p:pic>
          <p:nvPicPr>
            <p:cNvPr id="122" name="Picture 121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70C99494-6C5F-2EA3-C09B-79A2A25784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5943" y="4274586"/>
              <a:ext cx="396000" cy="396000"/>
            </a:xfrm>
            <a:prstGeom prst="rect">
              <a:avLst/>
            </a:prstGeom>
          </p:spPr>
        </p:pic>
        <p:pic>
          <p:nvPicPr>
            <p:cNvPr id="123" name="Picture 12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0E8A8554-7BA8-3E2B-10F4-0267E78624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4492" y="3527073"/>
              <a:ext cx="396000" cy="396000"/>
            </a:xfrm>
            <a:prstGeom prst="rect">
              <a:avLst/>
            </a:prstGeom>
          </p:spPr>
        </p:pic>
      </p:grpSp>
      <p:sp>
        <p:nvSpPr>
          <p:cNvPr id="177" name="Rectangle 1">
            <a:extLst>
              <a:ext uri="{FF2B5EF4-FFF2-40B4-BE49-F238E27FC236}">
                <a16:creationId xmlns:a16="http://schemas.microsoft.com/office/drawing/2014/main" id="{EC3A530A-CEC0-1B10-9487-1854D2CFAB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213100" cy="0"/>
          </a:xfrm>
          <a:prstGeom prst="rect">
            <a:avLst/>
          </a:prstGeom>
          <a:solidFill>
            <a:srgbClr val="44479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Microsoft Team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95" name="Table 194">
            <a:extLst>
              <a:ext uri="{FF2B5EF4-FFF2-40B4-BE49-F238E27FC236}">
                <a16:creationId xmlns:a16="http://schemas.microsoft.com/office/drawing/2014/main" id="{9E37C1E5-4591-2FD4-27A1-5228CFB3F306}"/>
              </a:ext>
            </a:extLst>
          </p:cNvPr>
          <p:cNvGraphicFramePr>
            <a:graphicFrameLocks noGrp="1"/>
          </p:cNvGraphicFramePr>
          <p:nvPr/>
        </p:nvGraphicFramePr>
        <p:xfrm>
          <a:off x="2284630" y="2113412"/>
          <a:ext cx="2576686" cy="6566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88343">
                  <a:extLst>
                    <a:ext uri="{9D8B030D-6E8A-4147-A177-3AD203B41FA5}">
                      <a16:colId xmlns:a16="http://schemas.microsoft.com/office/drawing/2014/main" val="3397035231"/>
                    </a:ext>
                  </a:extLst>
                </a:gridCol>
                <a:gridCol w="1288343">
                  <a:extLst>
                    <a:ext uri="{9D8B030D-6E8A-4147-A177-3AD203B41FA5}">
                      <a16:colId xmlns:a16="http://schemas.microsoft.com/office/drawing/2014/main" val="10116751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900" b="0"/>
                        <a:t>1. Requirements Parser 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/>
                        <a:t>4. DevOps Flow Agent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99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2.BRD Summarizer Agents 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5. Defect Triage Agent 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8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3.Code generator &amp; </a:t>
                      </a:r>
                    </a:p>
                    <a:p>
                      <a:r>
                        <a:rPr lang="en-US" sz="900"/>
                        <a:t>Refactor Agent 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6. Documentation CoPilot 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33345"/>
                  </a:ext>
                </a:extLst>
              </a:tr>
            </a:tbl>
          </a:graphicData>
        </a:graphic>
      </p:graphicFrame>
      <p:sp>
        <p:nvSpPr>
          <p:cNvPr id="209" name="TextBox 208">
            <a:extLst>
              <a:ext uri="{FF2B5EF4-FFF2-40B4-BE49-F238E27FC236}">
                <a16:creationId xmlns:a16="http://schemas.microsoft.com/office/drawing/2014/main" id="{F199660A-EA0A-E301-3FCC-784D4CA1D35E}"/>
              </a:ext>
            </a:extLst>
          </p:cNvPr>
          <p:cNvSpPr txBox="1"/>
          <p:nvPr/>
        </p:nvSpPr>
        <p:spPr>
          <a:xfrm>
            <a:off x="4225105" y="712935"/>
            <a:ext cx="2412000" cy="245932"/>
          </a:xfrm>
          <a:prstGeom prst="rect">
            <a:avLst/>
          </a:prstGeom>
          <a:noFill/>
          <a:effectLst/>
        </p:spPr>
        <p:txBody>
          <a:bodyPr wrap="square" lIns="36000" tIns="36000" rIns="3600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onomy</a:t>
            </a:r>
            <a:endParaRPr kumimoji="0" lang="en-IN" sz="1200" b="1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10" name="Table 209">
            <a:extLst>
              <a:ext uri="{FF2B5EF4-FFF2-40B4-BE49-F238E27FC236}">
                <a16:creationId xmlns:a16="http://schemas.microsoft.com/office/drawing/2014/main" id="{8CCA8EB8-8D6B-85E8-DB02-EF58D99DEE55}"/>
              </a:ext>
            </a:extLst>
          </p:cNvPr>
          <p:cNvGraphicFramePr>
            <a:graphicFrameLocks noGrp="1"/>
          </p:cNvGraphicFramePr>
          <p:nvPr/>
        </p:nvGraphicFramePr>
        <p:xfrm>
          <a:off x="4225105" y="993136"/>
          <a:ext cx="2746966" cy="519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27757">
                  <a:extLst>
                    <a:ext uri="{9D8B030D-6E8A-4147-A177-3AD203B41FA5}">
                      <a16:colId xmlns:a16="http://schemas.microsoft.com/office/drawing/2014/main" val="3397035231"/>
                    </a:ext>
                  </a:extLst>
                </a:gridCol>
                <a:gridCol w="1419209">
                  <a:extLst>
                    <a:ext uri="{9D8B030D-6E8A-4147-A177-3AD203B41FA5}">
                      <a16:colId xmlns:a16="http://schemas.microsoft.com/office/drawing/2014/main" val="10116751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</a:rPr>
                        <a:t>1. Autonomous Mode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</a:rPr>
                        <a:t>4. Self Healing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99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</a:rPr>
                        <a:t>2. Supervised Mode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</a:rPr>
                        <a:t>5. Multi-agent coordination</a:t>
                      </a:r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8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</a:rPr>
                        <a:t>3. Auto Code Generation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</a:rPr>
                        <a:t>6. Adaptive Learning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33345"/>
                  </a:ext>
                </a:extLst>
              </a:tr>
            </a:tbl>
          </a:graphicData>
        </a:graphic>
      </p:graphicFrame>
      <p:sp>
        <p:nvSpPr>
          <p:cNvPr id="218" name="TextBox 217">
            <a:extLst>
              <a:ext uri="{FF2B5EF4-FFF2-40B4-BE49-F238E27FC236}">
                <a16:creationId xmlns:a16="http://schemas.microsoft.com/office/drawing/2014/main" id="{80985B60-077F-9992-A762-BF8E1DDD8709}"/>
              </a:ext>
            </a:extLst>
          </p:cNvPr>
          <p:cNvSpPr txBox="1"/>
          <p:nvPr/>
        </p:nvSpPr>
        <p:spPr>
          <a:xfrm>
            <a:off x="7519137" y="712935"/>
            <a:ext cx="1895475" cy="245932"/>
          </a:xfrm>
          <a:prstGeom prst="rect">
            <a:avLst/>
          </a:prstGeom>
          <a:noFill/>
          <a:effectLst/>
        </p:spPr>
        <p:txBody>
          <a:bodyPr wrap="square" lIns="36000" tIns="36000" rIns="3600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tions</a:t>
            </a:r>
          </a:p>
        </p:txBody>
      </p:sp>
      <p:graphicFrame>
        <p:nvGraphicFramePr>
          <p:cNvPr id="219" name="Table 218">
            <a:extLst>
              <a:ext uri="{FF2B5EF4-FFF2-40B4-BE49-F238E27FC236}">
                <a16:creationId xmlns:a16="http://schemas.microsoft.com/office/drawing/2014/main" id="{E0EEE9AF-3D7E-9C4E-2A8E-B707989557DC}"/>
              </a:ext>
            </a:extLst>
          </p:cNvPr>
          <p:cNvGraphicFramePr>
            <a:graphicFrameLocks noGrp="1"/>
          </p:cNvGraphicFramePr>
          <p:nvPr/>
        </p:nvGraphicFramePr>
        <p:xfrm>
          <a:off x="7519137" y="993136"/>
          <a:ext cx="2485923" cy="519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9516">
                  <a:extLst>
                    <a:ext uri="{9D8B030D-6E8A-4147-A177-3AD203B41FA5}">
                      <a16:colId xmlns:a16="http://schemas.microsoft.com/office/drawing/2014/main" val="3397035231"/>
                    </a:ext>
                  </a:extLst>
                </a:gridCol>
                <a:gridCol w="1436407">
                  <a:extLst>
                    <a:ext uri="{9D8B030D-6E8A-4147-A177-3AD203B41FA5}">
                      <a16:colId xmlns:a16="http://schemas.microsoft.com/office/drawing/2014/main" val="10116751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b="0"/>
                        <a:t>1. IDEs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/>
                        <a:t>4. Project Management Tools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99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2. Coding Assistants 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5. Enterprise App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8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3. CI/CD pipeline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6. Code Repo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33345"/>
                  </a:ext>
                </a:extLst>
              </a:tr>
            </a:tbl>
          </a:graphicData>
        </a:graphic>
      </p:graphicFrame>
      <p:sp>
        <p:nvSpPr>
          <p:cNvPr id="224" name="TextBox 223">
            <a:extLst>
              <a:ext uri="{FF2B5EF4-FFF2-40B4-BE49-F238E27FC236}">
                <a16:creationId xmlns:a16="http://schemas.microsoft.com/office/drawing/2014/main" id="{D267842F-A517-1612-0DB4-F05EB73184E3}"/>
              </a:ext>
            </a:extLst>
          </p:cNvPr>
          <p:cNvSpPr txBox="1"/>
          <p:nvPr/>
        </p:nvSpPr>
        <p:spPr>
          <a:xfrm>
            <a:off x="9313986" y="1817009"/>
            <a:ext cx="1895475" cy="245932"/>
          </a:xfrm>
          <a:prstGeom prst="rect">
            <a:avLst/>
          </a:prstGeom>
          <a:noFill/>
          <a:effectLst/>
        </p:spPr>
        <p:txBody>
          <a:bodyPr wrap="square" lIns="36000" tIns="36000" rIns="3600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stomizability</a:t>
            </a:r>
          </a:p>
        </p:txBody>
      </p:sp>
      <p:graphicFrame>
        <p:nvGraphicFramePr>
          <p:cNvPr id="225" name="Table 224">
            <a:extLst>
              <a:ext uri="{FF2B5EF4-FFF2-40B4-BE49-F238E27FC236}">
                <a16:creationId xmlns:a16="http://schemas.microsoft.com/office/drawing/2014/main" id="{1EFF96B6-0051-6910-1C47-1207C93882CB}"/>
              </a:ext>
            </a:extLst>
          </p:cNvPr>
          <p:cNvGraphicFramePr>
            <a:graphicFrameLocks noGrp="1"/>
          </p:cNvGraphicFramePr>
          <p:nvPr/>
        </p:nvGraphicFramePr>
        <p:xfrm>
          <a:off x="9313986" y="2113412"/>
          <a:ext cx="2718762" cy="519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47817">
                  <a:extLst>
                    <a:ext uri="{9D8B030D-6E8A-4147-A177-3AD203B41FA5}">
                      <a16:colId xmlns:a16="http://schemas.microsoft.com/office/drawing/2014/main" val="3397035231"/>
                    </a:ext>
                  </a:extLst>
                </a:gridCol>
                <a:gridCol w="1570945">
                  <a:extLst>
                    <a:ext uri="{9D8B030D-6E8A-4147-A177-3AD203B41FA5}">
                      <a16:colId xmlns:a16="http://schemas.microsoft.com/office/drawing/2014/main" val="10116751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b="0"/>
                        <a:t>1. Agent Builder Studio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/>
                        <a:t>4. Branding at will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99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2. Custom Agent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5. Policy Engine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8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3. Pre-built Template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6. LLM’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33345"/>
                  </a:ext>
                </a:extLst>
              </a:tr>
            </a:tbl>
          </a:graphicData>
        </a:graphic>
      </p:graphicFrame>
      <p:sp>
        <p:nvSpPr>
          <p:cNvPr id="229" name="TextBox 228">
            <a:extLst>
              <a:ext uri="{FF2B5EF4-FFF2-40B4-BE49-F238E27FC236}">
                <a16:creationId xmlns:a16="http://schemas.microsoft.com/office/drawing/2014/main" id="{084DE03B-A3C7-4482-9308-248EF4FDCBAD}"/>
              </a:ext>
            </a:extLst>
          </p:cNvPr>
          <p:cNvSpPr txBox="1"/>
          <p:nvPr/>
        </p:nvSpPr>
        <p:spPr>
          <a:xfrm>
            <a:off x="9313986" y="3298526"/>
            <a:ext cx="1895475" cy="245932"/>
          </a:xfrm>
          <a:prstGeom prst="rect">
            <a:avLst/>
          </a:prstGeom>
          <a:noFill/>
          <a:effectLst/>
        </p:spPr>
        <p:txBody>
          <a:bodyPr wrap="square" lIns="36000" tIns="36000" rIns="3600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terprise Grade Maturity</a:t>
            </a:r>
          </a:p>
        </p:txBody>
      </p:sp>
      <p:graphicFrame>
        <p:nvGraphicFramePr>
          <p:cNvPr id="230" name="Table 229">
            <a:extLst>
              <a:ext uri="{FF2B5EF4-FFF2-40B4-BE49-F238E27FC236}">
                <a16:creationId xmlns:a16="http://schemas.microsoft.com/office/drawing/2014/main" id="{A0A0FE1D-7742-30CA-D556-79333321BD73}"/>
              </a:ext>
            </a:extLst>
          </p:cNvPr>
          <p:cNvGraphicFramePr>
            <a:graphicFrameLocks noGrp="1"/>
          </p:cNvGraphicFramePr>
          <p:nvPr/>
        </p:nvGraphicFramePr>
        <p:xfrm>
          <a:off x="9313986" y="3571392"/>
          <a:ext cx="2693516" cy="519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6796">
                  <a:extLst>
                    <a:ext uri="{9D8B030D-6E8A-4147-A177-3AD203B41FA5}">
                      <a16:colId xmlns:a16="http://schemas.microsoft.com/office/drawing/2014/main" val="3397035231"/>
                    </a:ext>
                  </a:extLst>
                </a:gridCol>
                <a:gridCol w="1246720">
                  <a:extLst>
                    <a:ext uri="{9D8B030D-6E8A-4147-A177-3AD203B41FA5}">
                      <a16:colId xmlns:a16="http://schemas.microsoft.com/office/drawing/2014/main" val="1011675167"/>
                    </a:ext>
                  </a:extLst>
                </a:gridCol>
              </a:tblGrid>
              <a:tr h="7600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b="0"/>
                        <a:t>1. Enterprise Deployments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/>
                        <a:t>4. Global Support  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99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2. AI Product Engg. CoE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5. Community Ecosystem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8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3. Extensive Documentation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6. Proven Methodology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33345"/>
                  </a:ext>
                </a:extLst>
              </a:tr>
            </a:tbl>
          </a:graphicData>
        </a:graphic>
      </p:graphicFrame>
      <p:sp>
        <p:nvSpPr>
          <p:cNvPr id="234" name="TextBox 233">
            <a:extLst>
              <a:ext uri="{FF2B5EF4-FFF2-40B4-BE49-F238E27FC236}">
                <a16:creationId xmlns:a16="http://schemas.microsoft.com/office/drawing/2014/main" id="{931FFEF3-C332-CEE4-B4E3-F0E0BD4F632F}"/>
              </a:ext>
            </a:extLst>
          </p:cNvPr>
          <p:cNvSpPr txBox="1"/>
          <p:nvPr/>
        </p:nvSpPr>
        <p:spPr>
          <a:xfrm>
            <a:off x="9033524" y="4564570"/>
            <a:ext cx="1895475" cy="245932"/>
          </a:xfrm>
          <a:prstGeom prst="rect">
            <a:avLst/>
          </a:prstGeom>
          <a:noFill/>
          <a:effectLst/>
        </p:spPr>
        <p:txBody>
          <a:bodyPr wrap="square" lIns="36000" tIns="36000" rIns="3600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formance </a:t>
            </a:r>
          </a:p>
        </p:txBody>
      </p:sp>
      <p:graphicFrame>
        <p:nvGraphicFramePr>
          <p:cNvPr id="235" name="Table 234">
            <a:extLst>
              <a:ext uri="{FF2B5EF4-FFF2-40B4-BE49-F238E27FC236}">
                <a16:creationId xmlns:a16="http://schemas.microsoft.com/office/drawing/2014/main" id="{EB4C193F-E613-78BD-A8BA-D21814D1BDE4}"/>
              </a:ext>
            </a:extLst>
          </p:cNvPr>
          <p:cNvGraphicFramePr>
            <a:graphicFrameLocks noGrp="1"/>
          </p:cNvGraphicFramePr>
          <p:nvPr/>
        </p:nvGraphicFramePr>
        <p:xfrm>
          <a:off x="9033524" y="4834717"/>
          <a:ext cx="2977146" cy="519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30409">
                  <a:extLst>
                    <a:ext uri="{9D8B030D-6E8A-4147-A177-3AD203B41FA5}">
                      <a16:colId xmlns:a16="http://schemas.microsoft.com/office/drawing/2014/main" val="3397035231"/>
                    </a:ext>
                  </a:extLst>
                </a:gridCol>
                <a:gridCol w="1546737">
                  <a:extLst>
                    <a:ext uri="{9D8B030D-6E8A-4147-A177-3AD203B41FA5}">
                      <a16:colId xmlns:a16="http://schemas.microsoft.com/office/drawing/2014/main" val="10116751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b="0"/>
                        <a:t>1. Code Quality 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/>
                        <a:t>4. Quality Gates 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99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2. Automated task flow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5. Performance Benchmarking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8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3. Faster development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6. Real-time Analytic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33345"/>
                  </a:ext>
                </a:extLst>
              </a:tr>
            </a:tbl>
          </a:graphicData>
        </a:graphic>
      </p:graphicFrame>
      <p:sp>
        <p:nvSpPr>
          <p:cNvPr id="239" name="TextBox 238">
            <a:extLst>
              <a:ext uri="{FF2B5EF4-FFF2-40B4-BE49-F238E27FC236}">
                <a16:creationId xmlns:a16="http://schemas.microsoft.com/office/drawing/2014/main" id="{47B148E6-74D7-5B1B-8BA6-02C4E39346A4}"/>
              </a:ext>
            </a:extLst>
          </p:cNvPr>
          <p:cNvSpPr txBox="1"/>
          <p:nvPr/>
        </p:nvSpPr>
        <p:spPr>
          <a:xfrm>
            <a:off x="6401400" y="5380805"/>
            <a:ext cx="2026946" cy="245932"/>
          </a:xfrm>
          <a:prstGeom prst="rect">
            <a:avLst/>
          </a:prstGeom>
          <a:noFill/>
          <a:effectLst/>
        </p:spPr>
        <p:txBody>
          <a:bodyPr wrap="square" lIns="36000" tIns="36000" rIns="3600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terprise Security Standards</a:t>
            </a:r>
          </a:p>
        </p:txBody>
      </p:sp>
      <p:graphicFrame>
        <p:nvGraphicFramePr>
          <p:cNvPr id="240" name="Table 239">
            <a:extLst>
              <a:ext uri="{FF2B5EF4-FFF2-40B4-BE49-F238E27FC236}">
                <a16:creationId xmlns:a16="http://schemas.microsoft.com/office/drawing/2014/main" id="{01EAF7D3-27B9-96A8-C3AB-9AC93B8EC748}"/>
              </a:ext>
            </a:extLst>
          </p:cNvPr>
          <p:cNvGraphicFramePr>
            <a:graphicFrameLocks noGrp="1"/>
          </p:cNvGraphicFramePr>
          <p:nvPr/>
        </p:nvGraphicFramePr>
        <p:xfrm>
          <a:off x="6401400" y="5624980"/>
          <a:ext cx="2780936" cy="519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30409">
                  <a:extLst>
                    <a:ext uri="{9D8B030D-6E8A-4147-A177-3AD203B41FA5}">
                      <a16:colId xmlns:a16="http://schemas.microsoft.com/office/drawing/2014/main" val="3397035231"/>
                    </a:ext>
                  </a:extLst>
                </a:gridCol>
                <a:gridCol w="1350527">
                  <a:extLst>
                    <a:ext uri="{9D8B030D-6E8A-4147-A177-3AD203B41FA5}">
                      <a16:colId xmlns:a16="http://schemas.microsoft.com/office/drawing/2014/main" val="10116751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b="0"/>
                        <a:t>1. Secure Code Generation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/>
                        <a:t>4. Standards Compliance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99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2. Vulnerability Scanning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5. Audit Trail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8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3. Security Gate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6. Zero Trust design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33345"/>
                  </a:ext>
                </a:extLst>
              </a:tr>
            </a:tbl>
          </a:graphicData>
        </a:graphic>
      </p:graphicFrame>
      <p:sp>
        <p:nvSpPr>
          <p:cNvPr id="244" name="TextBox 243">
            <a:extLst>
              <a:ext uri="{FF2B5EF4-FFF2-40B4-BE49-F238E27FC236}">
                <a16:creationId xmlns:a16="http://schemas.microsoft.com/office/drawing/2014/main" id="{5B43B4B1-E82C-8549-B951-45F1094D6321}"/>
              </a:ext>
            </a:extLst>
          </p:cNvPr>
          <p:cNvSpPr txBox="1"/>
          <p:nvPr/>
        </p:nvSpPr>
        <p:spPr>
          <a:xfrm>
            <a:off x="2640173" y="4564570"/>
            <a:ext cx="2026946" cy="245932"/>
          </a:xfrm>
          <a:prstGeom prst="rect">
            <a:avLst/>
          </a:prstGeom>
          <a:noFill/>
          <a:effectLst/>
        </p:spPr>
        <p:txBody>
          <a:bodyPr wrap="square" lIns="36000" tIns="36000" rIns="3600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vanced Team Collaboration</a:t>
            </a:r>
          </a:p>
        </p:txBody>
      </p:sp>
      <p:graphicFrame>
        <p:nvGraphicFramePr>
          <p:cNvPr id="245" name="Table 244">
            <a:extLst>
              <a:ext uri="{FF2B5EF4-FFF2-40B4-BE49-F238E27FC236}">
                <a16:creationId xmlns:a16="http://schemas.microsoft.com/office/drawing/2014/main" id="{C93C4696-3A64-7173-8F76-7129AEB82B12}"/>
              </a:ext>
            </a:extLst>
          </p:cNvPr>
          <p:cNvGraphicFramePr>
            <a:graphicFrameLocks noGrp="1"/>
          </p:cNvGraphicFramePr>
          <p:nvPr/>
        </p:nvGraphicFramePr>
        <p:xfrm>
          <a:off x="2640173" y="4834717"/>
          <a:ext cx="3038706" cy="519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00406">
                  <a:extLst>
                    <a:ext uri="{9D8B030D-6E8A-4147-A177-3AD203B41FA5}">
                      <a16:colId xmlns:a16="http://schemas.microsoft.com/office/drawing/2014/main" val="3397035231"/>
                    </a:ext>
                  </a:extLst>
                </a:gridCol>
                <a:gridCol w="1638300">
                  <a:extLst>
                    <a:ext uri="{9D8B030D-6E8A-4147-A177-3AD203B41FA5}">
                      <a16:colId xmlns:a16="http://schemas.microsoft.com/office/drawing/2014/main" val="10116751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b="0"/>
                        <a:t>1. Shared Context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/>
                        <a:t>4. Contextual Recommendations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99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2. Multi-Agent Environment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5. Team Analytic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8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3. AI-led automation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6. Multi-timezone Support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33345"/>
                  </a:ext>
                </a:extLst>
              </a:tr>
            </a:tbl>
          </a:graphicData>
        </a:graphic>
      </p:graphicFrame>
      <p:sp>
        <p:nvSpPr>
          <p:cNvPr id="249" name="TextBox 248">
            <a:extLst>
              <a:ext uri="{FF2B5EF4-FFF2-40B4-BE49-F238E27FC236}">
                <a16:creationId xmlns:a16="http://schemas.microsoft.com/office/drawing/2014/main" id="{3CFBF7B5-6C88-188F-CE6C-64188FA45A39}"/>
              </a:ext>
            </a:extLst>
          </p:cNvPr>
          <p:cNvSpPr txBox="1"/>
          <p:nvPr/>
        </p:nvSpPr>
        <p:spPr>
          <a:xfrm>
            <a:off x="1928624" y="3298526"/>
            <a:ext cx="2026946" cy="245932"/>
          </a:xfrm>
          <a:prstGeom prst="rect">
            <a:avLst/>
          </a:prstGeom>
          <a:noFill/>
          <a:effectLst/>
        </p:spPr>
        <p:txBody>
          <a:bodyPr wrap="square" lIns="36000" tIns="36000" rIns="3600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tform</a:t>
            </a:r>
          </a:p>
        </p:txBody>
      </p:sp>
      <p:graphicFrame>
        <p:nvGraphicFramePr>
          <p:cNvPr id="250" name="Table 249">
            <a:extLst>
              <a:ext uri="{FF2B5EF4-FFF2-40B4-BE49-F238E27FC236}">
                <a16:creationId xmlns:a16="http://schemas.microsoft.com/office/drawing/2014/main" id="{59B2B50F-292A-67BC-9563-24248341C1EA}"/>
              </a:ext>
            </a:extLst>
          </p:cNvPr>
          <p:cNvGraphicFramePr>
            <a:graphicFrameLocks noGrp="1"/>
          </p:cNvGraphicFramePr>
          <p:nvPr/>
        </p:nvGraphicFramePr>
        <p:xfrm>
          <a:off x="1928624" y="3571392"/>
          <a:ext cx="2759682" cy="519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04262">
                  <a:extLst>
                    <a:ext uri="{9D8B030D-6E8A-4147-A177-3AD203B41FA5}">
                      <a16:colId xmlns:a16="http://schemas.microsoft.com/office/drawing/2014/main" val="3397035231"/>
                    </a:ext>
                  </a:extLst>
                </a:gridCol>
                <a:gridCol w="1455420">
                  <a:extLst>
                    <a:ext uri="{9D8B030D-6E8A-4147-A177-3AD203B41FA5}">
                      <a16:colId xmlns:a16="http://schemas.microsoft.com/office/drawing/2014/main" val="10116751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b="0"/>
                        <a:t>1. Orchestration Engine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/>
                        <a:t>4. Enterprise Architecture</a:t>
                      </a:r>
                      <a:endParaRPr lang="en-IN" sz="900" b="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99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2. Cross Environment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5. Extensibility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8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3. Extensive Integrations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6. Governance &amp; Compliance</a:t>
                      </a:r>
                      <a:endParaRPr lang="en-IN" sz="900"/>
                    </a:p>
                  </a:txBody>
                  <a:tcPr marL="36000" marR="36000" marT="18000" marB="18000">
                    <a:lnL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33345"/>
                  </a:ext>
                </a:extLst>
              </a:tr>
            </a:tbl>
          </a:graphicData>
        </a:graphic>
      </p:graphicFrame>
      <p:sp>
        <p:nvSpPr>
          <p:cNvPr id="254" name="Arrow: Pentagon 253">
            <a:extLst>
              <a:ext uri="{FF2B5EF4-FFF2-40B4-BE49-F238E27FC236}">
                <a16:creationId xmlns:a16="http://schemas.microsoft.com/office/drawing/2014/main" id="{2C23FE90-F10C-C2F2-8113-829A6D2CD1F6}"/>
              </a:ext>
            </a:extLst>
          </p:cNvPr>
          <p:cNvSpPr/>
          <p:nvPr/>
        </p:nvSpPr>
        <p:spPr>
          <a:xfrm>
            <a:off x="3903474" y="789919"/>
            <a:ext cx="238125" cy="245932"/>
          </a:xfrm>
          <a:prstGeom prst="homePlate">
            <a:avLst>
              <a:gd name="adj" fmla="val 24599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5" name="Arrow: Pentagon 254">
            <a:extLst>
              <a:ext uri="{FF2B5EF4-FFF2-40B4-BE49-F238E27FC236}">
                <a16:creationId xmlns:a16="http://schemas.microsoft.com/office/drawing/2014/main" id="{AD08A947-B34B-3D82-F76F-8358E27ABD6B}"/>
              </a:ext>
            </a:extLst>
          </p:cNvPr>
          <p:cNvSpPr/>
          <p:nvPr/>
        </p:nvSpPr>
        <p:spPr>
          <a:xfrm>
            <a:off x="7195444" y="789919"/>
            <a:ext cx="238125" cy="245932"/>
          </a:xfrm>
          <a:prstGeom prst="homePlate">
            <a:avLst>
              <a:gd name="adj" fmla="val 24599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6" name="Arrow: Pentagon 255">
            <a:extLst>
              <a:ext uri="{FF2B5EF4-FFF2-40B4-BE49-F238E27FC236}">
                <a16:creationId xmlns:a16="http://schemas.microsoft.com/office/drawing/2014/main" id="{43735313-5669-485F-A1B5-4ADCB1446E9F}"/>
              </a:ext>
            </a:extLst>
          </p:cNvPr>
          <p:cNvSpPr/>
          <p:nvPr/>
        </p:nvSpPr>
        <p:spPr>
          <a:xfrm>
            <a:off x="9022133" y="1830796"/>
            <a:ext cx="238125" cy="245932"/>
          </a:xfrm>
          <a:prstGeom prst="homePlate">
            <a:avLst>
              <a:gd name="adj" fmla="val 24599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7" name="Arrow: Pentagon 256">
            <a:extLst>
              <a:ext uri="{FF2B5EF4-FFF2-40B4-BE49-F238E27FC236}">
                <a16:creationId xmlns:a16="http://schemas.microsoft.com/office/drawing/2014/main" id="{19986825-86BB-30A7-ACCC-9E3BCC7A21D2}"/>
              </a:ext>
            </a:extLst>
          </p:cNvPr>
          <p:cNvSpPr/>
          <p:nvPr/>
        </p:nvSpPr>
        <p:spPr>
          <a:xfrm>
            <a:off x="2278119" y="1830796"/>
            <a:ext cx="238125" cy="245932"/>
          </a:xfrm>
          <a:prstGeom prst="homePlate">
            <a:avLst>
              <a:gd name="adj" fmla="val 24599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8" name="Arrow: Pentagon 257">
            <a:extLst>
              <a:ext uri="{FF2B5EF4-FFF2-40B4-BE49-F238E27FC236}">
                <a16:creationId xmlns:a16="http://schemas.microsoft.com/office/drawing/2014/main" id="{CA152417-671B-892B-BB99-B9E683F0C225}"/>
              </a:ext>
            </a:extLst>
          </p:cNvPr>
          <p:cNvSpPr/>
          <p:nvPr/>
        </p:nvSpPr>
        <p:spPr>
          <a:xfrm>
            <a:off x="9000361" y="3384671"/>
            <a:ext cx="238125" cy="245932"/>
          </a:xfrm>
          <a:prstGeom prst="homePlate">
            <a:avLst>
              <a:gd name="adj" fmla="val 24599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9" name="Arrow: Pentagon 258">
            <a:extLst>
              <a:ext uri="{FF2B5EF4-FFF2-40B4-BE49-F238E27FC236}">
                <a16:creationId xmlns:a16="http://schemas.microsoft.com/office/drawing/2014/main" id="{CF91BC69-0760-F06D-698C-817D3ADEE569}"/>
              </a:ext>
            </a:extLst>
          </p:cNvPr>
          <p:cNvSpPr/>
          <p:nvPr/>
        </p:nvSpPr>
        <p:spPr>
          <a:xfrm>
            <a:off x="8770940" y="4640440"/>
            <a:ext cx="238125" cy="245932"/>
          </a:xfrm>
          <a:prstGeom prst="homePlate">
            <a:avLst>
              <a:gd name="adj" fmla="val 24599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0" name="Arrow: Pentagon 259">
            <a:extLst>
              <a:ext uri="{FF2B5EF4-FFF2-40B4-BE49-F238E27FC236}">
                <a16:creationId xmlns:a16="http://schemas.microsoft.com/office/drawing/2014/main" id="{21CEE4C3-6133-DD2C-93DD-E3412FDD7F64}"/>
              </a:ext>
            </a:extLst>
          </p:cNvPr>
          <p:cNvSpPr/>
          <p:nvPr/>
        </p:nvSpPr>
        <p:spPr>
          <a:xfrm>
            <a:off x="6100922" y="5502014"/>
            <a:ext cx="238125" cy="245932"/>
          </a:xfrm>
          <a:prstGeom prst="homePlate">
            <a:avLst>
              <a:gd name="adj" fmla="val 24599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1" name="Arrow: Pentagon 260">
            <a:extLst>
              <a:ext uri="{FF2B5EF4-FFF2-40B4-BE49-F238E27FC236}">
                <a16:creationId xmlns:a16="http://schemas.microsoft.com/office/drawing/2014/main" id="{F896892D-AF39-41CA-53DA-70A2D8ADC208}"/>
              </a:ext>
            </a:extLst>
          </p:cNvPr>
          <p:cNvSpPr/>
          <p:nvPr/>
        </p:nvSpPr>
        <p:spPr>
          <a:xfrm>
            <a:off x="2358249" y="4640440"/>
            <a:ext cx="238125" cy="245932"/>
          </a:xfrm>
          <a:prstGeom prst="homePlate">
            <a:avLst>
              <a:gd name="adj" fmla="val 24599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2" name="Arrow: Pentagon 261">
            <a:extLst>
              <a:ext uri="{FF2B5EF4-FFF2-40B4-BE49-F238E27FC236}">
                <a16:creationId xmlns:a16="http://schemas.microsoft.com/office/drawing/2014/main" id="{BEF0A2F7-AD6A-6F23-8156-F9837954495F}"/>
              </a:ext>
            </a:extLst>
          </p:cNvPr>
          <p:cNvSpPr/>
          <p:nvPr/>
        </p:nvSpPr>
        <p:spPr>
          <a:xfrm>
            <a:off x="1647495" y="3384671"/>
            <a:ext cx="238125" cy="245932"/>
          </a:xfrm>
          <a:prstGeom prst="homePlate">
            <a:avLst>
              <a:gd name="adj" fmla="val 24599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9" name="Freeform: Shape 278">
            <a:extLst>
              <a:ext uri="{FF2B5EF4-FFF2-40B4-BE49-F238E27FC236}">
                <a16:creationId xmlns:a16="http://schemas.microsoft.com/office/drawing/2014/main" id="{EEDD382E-372F-D9B9-5495-F094735B83C9}"/>
              </a:ext>
            </a:extLst>
          </p:cNvPr>
          <p:cNvSpPr/>
          <p:nvPr/>
        </p:nvSpPr>
        <p:spPr>
          <a:xfrm>
            <a:off x="0" y="712935"/>
            <a:ext cx="3038706" cy="2027195"/>
          </a:xfrm>
          <a:custGeom>
            <a:avLst/>
            <a:gdLst>
              <a:gd name="connsiteX0" fmla="*/ 0 w 3038706"/>
              <a:gd name="connsiteY0" fmla="*/ 0 h 1946177"/>
              <a:gd name="connsiteX1" fmla="*/ 3038706 w 3038706"/>
              <a:gd name="connsiteY1" fmla="*/ 0 h 1946177"/>
              <a:gd name="connsiteX2" fmla="*/ 2797092 w 3038706"/>
              <a:gd name="connsiteY2" fmla="*/ 165760 h 1946177"/>
              <a:gd name="connsiteX3" fmla="*/ 1602368 w 3038706"/>
              <a:gd name="connsiteY3" fmla="*/ 1934190 h 1946177"/>
              <a:gd name="connsiteX4" fmla="*/ 1599738 w 3038706"/>
              <a:gd name="connsiteY4" fmla="*/ 1946177 h 1946177"/>
              <a:gd name="connsiteX5" fmla="*/ 0 w 3038706"/>
              <a:gd name="connsiteY5" fmla="*/ 1946177 h 1946177"/>
              <a:gd name="connsiteX6" fmla="*/ 0 w 3038706"/>
              <a:gd name="connsiteY6" fmla="*/ 0 h 1946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38706" h="1946177">
                <a:moveTo>
                  <a:pt x="0" y="0"/>
                </a:moveTo>
                <a:lnTo>
                  <a:pt x="3038706" y="0"/>
                </a:lnTo>
                <a:lnTo>
                  <a:pt x="2797092" y="165760"/>
                </a:lnTo>
                <a:cubicBezTo>
                  <a:pt x="2208434" y="611458"/>
                  <a:pt x="1779863" y="1228761"/>
                  <a:pt x="1602368" y="1934190"/>
                </a:cubicBezTo>
                <a:lnTo>
                  <a:pt x="1599738" y="1946177"/>
                </a:lnTo>
                <a:lnTo>
                  <a:pt x="0" y="194617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50000"/>
                  <a:lumOff val="50000"/>
                  <a:shade val="30000"/>
                  <a:satMod val="115000"/>
                </a:schemeClr>
              </a:gs>
              <a:gs pos="50000">
                <a:schemeClr val="tx1">
                  <a:lumMod val="50000"/>
                  <a:lumOff val="50000"/>
                  <a:shade val="67500"/>
                  <a:satMod val="115000"/>
                </a:schemeClr>
              </a:gs>
              <a:gs pos="100000">
                <a:schemeClr val="tx1">
                  <a:lumMod val="50000"/>
                  <a:lumOff val="5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osable Architecture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G-Enabl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Contextu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Intelligence</a:t>
            </a:r>
          </a:p>
        </p:txBody>
      </p:sp>
      <p:sp>
        <p:nvSpPr>
          <p:cNvPr id="276" name="Freeform: Shape 275">
            <a:extLst>
              <a:ext uri="{FF2B5EF4-FFF2-40B4-BE49-F238E27FC236}">
                <a16:creationId xmlns:a16="http://schemas.microsoft.com/office/drawing/2014/main" id="{C9C5708D-80FC-26CE-E21B-445FA9DE066A}"/>
              </a:ext>
            </a:extLst>
          </p:cNvPr>
          <p:cNvSpPr/>
          <p:nvPr/>
        </p:nvSpPr>
        <p:spPr>
          <a:xfrm>
            <a:off x="0" y="2808031"/>
            <a:ext cx="1815980" cy="1966053"/>
          </a:xfrm>
          <a:custGeom>
            <a:avLst/>
            <a:gdLst>
              <a:gd name="connsiteX0" fmla="*/ 0 w 1815980"/>
              <a:gd name="connsiteY0" fmla="*/ 0 h 1966053"/>
              <a:gd name="connsiteX1" fmla="*/ 1584838 w 1815980"/>
              <a:gd name="connsiteY1" fmla="*/ 0 h 1966053"/>
              <a:gd name="connsiteX2" fmla="*/ 1563278 w 1815980"/>
              <a:gd name="connsiteY2" fmla="*/ 98255 h 1966053"/>
              <a:gd name="connsiteX3" fmla="*/ 1511936 w 1815980"/>
              <a:gd name="connsiteY3" fmla="*/ 651823 h 1966053"/>
              <a:gd name="connsiteX4" fmla="*/ 1781144 w 1815980"/>
              <a:gd name="connsiteY4" fmla="*/ 1894779 h 1966053"/>
              <a:gd name="connsiteX5" fmla="*/ 1815980 w 1815980"/>
              <a:gd name="connsiteY5" fmla="*/ 1966053 h 1966053"/>
              <a:gd name="connsiteX6" fmla="*/ 0 w 1815980"/>
              <a:gd name="connsiteY6" fmla="*/ 1966053 h 1966053"/>
              <a:gd name="connsiteX7" fmla="*/ 0 w 1815980"/>
              <a:gd name="connsiteY7" fmla="*/ 0 h 1966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5980" h="1966053">
                <a:moveTo>
                  <a:pt x="0" y="0"/>
                </a:moveTo>
                <a:lnTo>
                  <a:pt x="1584838" y="0"/>
                </a:lnTo>
                <a:lnTo>
                  <a:pt x="1563278" y="98255"/>
                </a:lnTo>
                <a:cubicBezTo>
                  <a:pt x="1529524" y="278140"/>
                  <a:pt x="1511936" y="463097"/>
                  <a:pt x="1511936" y="651823"/>
                </a:cubicBezTo>
                <a:cubicBezTo>
                  <a:pt x="1511936" y="1092184"/>
                  <a:pt x="1607693" y="1512026"/>
                  <a:pt x="1781144" y="1894779"/>
                </a:cubicBezTo>
                <a:lnTo>
                  <a:pt x="1815980" y="1966053"/>
                </a:lnTo>
                <a:lnTo>
                  <a:pt x="0" y="1966053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50000"/>
                  <a:lumOff val="50000"/>
                  <a:shade val="30000"/>
                  <a:satMod val="115000"/>
                </a:schemeClr>
              </a:gs>
              <a:gs pos="50000">
                <a:schemeClr val="tx1">
                  <a:lumMod val="50000"/>
                  <a:lumOff val="50000"/>
                  <a:shade val="67500"/>
                  <a:satMod val="115000"/>
                </a:schemeClr>
              </a:gs>
              <a:gs pos="100000">
                <a:schemeClr val="tx1">
                  <a:lumMod val="50000"/>
                  <a:lumOff val="5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I Guardrails Framework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lainability </a:t>
            </a:r>
          </a:p>
        </p:txBody>
      </p:sp>
      <p:sp>
        <p:nvSpPr>
          <p:cNvPr id="273" name="Freeform: Shape 272">
            <a:extLst>
              <a:ext uri="{FF2B5EF4-FFF2-40B4-BE49-F238E27FC236}">
                <a16:creationId xmlns:a16="http://schemas.microsoft.com/office/drawing/2014/main" id="{C5304D38-BCA9-3E05-3C2B-AD7DF9918C2A}"/>
              </a:ext>
            </a:extLst>
          </p:cNvPr>
          <p:cNvSpPr/>
          <p:nvPr/>
        </p:nvSpPr>
        <p:spPr>
          <a:xfrm>
            <a:off x="0" y="4841986"/>
            <a:ext cx="3038706" cy="1283770"/>
          </a:xfrm>
          <a:custGeom>
            <a:avLst/>
            <a:gdLst>
              <a:gd name="connsiteX0" fmla="*/ 0 w 3038706"/>
              <a:gd name="connsiteY0" fmla="*/ 0 h 1283770"/>
              <a:gd name="connsiteX1" fmla="*/ 1849167 w 3038706"/>
              <a:gd name="connsiteY1" fmla="*/ 0 h 1283770"/>
              <a:gd name="connsiteX2" fmla="*/ 1860185 w 3038706"/>
              <a:gd name="connsiteY2" fmla="*/ 22542 h 1283770"/>
              <a:gd name="connsiteX3" fmla="*/ 2797092 w 3038706"/>
              <a:gd name="connsiteY3" fmla="*/ 1118010 h 1283770"/>
              <a:gd name="connsiteX4" fmla="*/ 3038706 w 3038706"/>
              <a:gd name="connsiteY4" fmla="*/ 1283770 h 1283770"/>
              <a:gd name="connsiteX5" fmla="*/ 0 w 3038706"/>
              <a:gd name="connsiteY5" fmla="*/ 1283770 h 1283770"/>
              <a:gd name="connsiteX6" fmla="*/ 0 w 3038706"/>
              <a:gd name="connsiteY6" fmla="*/ 0 h 1283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38706" h="1283770">
                <a:moveTo>
                  <a:pt x="0" y="0"/>
                </a:moveTo>
                <a:lnTo>
                  <a:pt x="1849167" y="0"/>
                </a:lnTo>
                <a:lnTo>
                  <a:pt x="1860185" y="22542"/>
                </a:lnTo>
                <a:cubicBezTo>
                  <a:pt x="2083365" y="447477"/>
                  <a:pt x="2404654" y="820878"/>
                  <a:pt x="2797092" y="1118010"/>
                </a:cubicBezTo>
                <a:lnTo>
                  <a:pt x="3038706" y="1283770"/>
                </a:lnTo>
                <a:lnTo>
                  <a:pt x="0" y="128377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50000"/>
                  <a:lumOff val="50000"/>
                  <a:shade val="30000"/>
                  <a:satMod val="115000"/>
                </a:schemeClr>
              </a:gs>
              <a:gs pos="50000">
                <a:schemeClr val="tx1">
                  <a:lumMod val="50000"/>
                  <a:lumOff val="50000"/>
                  <a:shade val="67500"/>
                  <a:satMod val="115000"/>
                </a:schemeClr>
              </a:gs>
              <a:gs pos="100000">
                <a:schemeClr val="tx1">
                  <a:lumMod val="50000"/>
                  <a:lumOff val="5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ve Agent Builder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t Marketplace 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7CE40295-09A0-294A-35B8-C85EFF31C78D}"/>
              </a:ext>
            </a:extLst>
          </p:cNvPr>
          <p:cNvSpPr>
            <a:spLocks/>
          </p:cNvSpPr>
          <p:nvPr/>
        </p:nvSpPr>
        <p:spPr>
          <a:xfrm>
            <a:off x="56843" y="830771"/>
            <a:ext cx="2274930" cy="1878051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2887FB0-E691-6B59-11AE-2FF4D942BC64}"/>
              </a:ext>
            </a:extLst>
          </p:cNvPr>
          <p:cNvGrpSpPr/>
          <p:nvPr/>
        </p:nvGrpSpPr>
        <p:grpSpPr>
          <a:xfrm>
            <a:off x="9022132" y="441485"/>
            <a:ext cx="2761879" cy="216825"/>
            <a:chOff x="4768659" y="6465585"/>
            <a:chExt cx="4094019" cy="321406"/>
          </a:xfrm>
        </p:grpSpPr>
        <p:pic>
          <p:nvPicPr>
            <p:cNvPr id="4" name="Picture 2" descr="News to us! Bloomberg and Everest Report Mentions | Rossum">
              <a:extLst>
                <a:ext uri="{FF2B5EF4-FFF2-40B4-BE49-F238E27FC236}">
                  <a16:creationId xmlns:a16="http://schemas.microsoft.com/office/drawing/2014/main" id="{E3FB085B-4905-3CCE-E0D3-7755DF2272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487" b="23336"/>
            <a:stretch>
              <a:fillRect/>
            </a:stretch>
          </p:blipFill>
          <p:spPr bwMode="auto">
            <a:xfrm>
              <a:off x="5501488" y="6491953"/>
              <a:ext cx="946904" cy="2950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76581CFC-17D0-7C40-D292-ED038BA91D3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602054" y="6504297"/>
              <a:ext cx="1260624" cy="270837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5926E6E8-7B62-1726-21E4-7A12F76C1EC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854005" y="6499909"/>
              <a:ext cx="275225" cy="275225"/>
            </a:xfrm>
            <a:prstGeom prst="rect">
              <a:avLst/>
            </a:prstGeom>
          </p:spPr>
        </p:pic>
        <p:pic>
          <p:nvPicPr>
            <p:cNvPr id="11" name="Picture 4" descr="ISG - Press Releases">
              <a:extLst>
                <a:ext uri="{FF2B5EF4-FFF2-40B4-BE49-F238E27FC236}">
                  <a16:creationId xmlns:a16="http://schemas.microsoft.com/office/drawing/2014/main" id="{8B60A958-F373-B0D4-6CF2-D79A4B3E86D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583"/>
            <a:stretch>
              <a:fillRect/>
            </a:stretch>
          </p:blipFill>
          <p:spPr bwMode="auto">
            <a:xfrm>
              <a:off x="4768659" y="6465585"/>
              <a:ext cx="396000" cy="3095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658A4749-CB1B-8235-3BE3-219BD6FF259D}"/>
              </a:ext>
            </a:extLst>
          </p:cNvPr>
          <p:cNvSpPr txBox="1">
            <a:spLocks/>
          </p:cNvSpPr>
          <p:nvPr/>
        </p:nvSpPr>
        <p:spPr>
          <a:xfrm>
            <a:off x="330729" y="227013"/>
            <a:ext cx="11515725" cy="42386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Cogito.AI - Birlasoft’s AI-First Engineering Platform</a:t>
            </a:r>
          </a:p>
        </p:txBody>
      </p:sp>
    </p:spTree>
    <p:extLst>
      <p:ext uri="{BB962C8B-B14F-4D97-AF65-F5344CB8AC3E}">
        <p14:creationId xmlns:p14="http://schemas.microsoft.com/office/powerpoint/2010/main" val="2706907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2_Office Theme">
  <a:themeElements>
    <a:clrScheme name="Birlasoft_New2023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C00000"/>
      </a:accent1>
      <a:accent2>
        <a:srgbClr val="FF0000"/>
      </a:accent2>
      <a:accent3>
        <a:srgbClr val="797979"/>
      </a:accent3>
      <a:accent4>
        <a:srgbClr val="7030A0"/>
      </a:accent4>
      <a:accent5>
        <a:srgbClr val="FFC000"/>
      </a:accent5>
      <a:accent6>
        <a:srgbClr val="A5A5A5"/>
      </a:accent6>
      <a:hlink>
        <a:srgbClr val="0563C1"/>
      </a:hlink>
      <a:folHlink>
        <a:srgbClr val="70AD47"/>
      </a:folHlink>
    </a:clrScheme>
    <a:fontScheme name="Birlasoft_New202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irlasoft Corporate Presentation Template 2023-24">
  <a:themeElements>
    <a:clrScheme name="Custom 2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C00000"/>
      </a:accent1>
      <a:accent2>
        <a:srgbClr val="FF0000"/>
      </a:accent2>
      <a:accent3>
        <a:srgbClr val="7030A0"/>
      </a:accent3>
      <a:accent4>
        <a:srgbClr val="3F3F3F"/>
      </a:accent4>
      <a:accent5>
        <a:srgbClr val="FFC000"/>
      </a:accent5>
      <a:accent6>
        <a:srgbClr val="A5A5A5"/>
      </a:accent6>
      <a:hlink>
        <a:srgbClr val="0563C1"/>
      </a:hlink>
      <a:folHlink>
        <a:srgbClr val="70AD47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rlasoft Corporate Presentation Template 2023-24" id="{A0EF5A67-C411-4A00-A498-7B5C1DA05CC6}" vid="{DA5A60E0-40C9-4C3F-8214-6B7E68A94FA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8fc3300-ce5b-4e94-a858-f10c09fb4735" xsi:nil="true"/>
    <lcf76f155ced4ddcb4097134ff3c332f xmlns="1d02c0c7-83c0-425b-8426-43fcc1c11218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E500F81820CF489DF1DE81A729E6FB" ma:contentTypeVersion="14" ma:contentTypeDescription="Create a new document." ma:contentTypeScope="" ma:versionID="2b5baa3912399f08dafd8649ca2f2c98">
  <xsd:schema xmlns:xsd="http://www.w3.org/2001/XMLSchema" xmlns:xs="http://www.w3.org/2001/XMLSchema" xmlns:p="http://schemas.microsoft.com/office/2006/metadata/properties" xmlns:ns2="1d02c0c7-83c0-425b-8426-43fcc1c11218" xmlns:ns3="08fc3300-ce5b-4e94-a858-f10c09fb4735" targetNamespace="http://schemas.microsoft.com/office/2006/metadata/properties" ma:root="true" ma:fieldsID="b7e22bfc9e864da519df4548e1e28f48" ns2:_="" ns3:_="">
    <xsd:import namespace="1d02c0c7-83c0-425b-8426-43fcc1c11218"/>
    <xsd:import namespace="08fc3300-ce5b-4e94-a858-f10c09fb4735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02c0c7-83c0-425b-8426-43fcc1c11218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3df9aafd-aab2-4e6d-8a85-b52888695b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fc3300-ce5b-4e94-a858-f10c09fb4735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0d94dd6b-cda4-4929-9882-a4bf855d085f}" ma:internalName="TaxCatchAll" ma:showField="CatchAllData" ma:web="08fc3300-ce5b-4e94-a858-f10c09fb47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6599A3-539F-46AC-A5C6-09A5935E088A}">
  <ds:schemaRefs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microsoft.com/office/2006/metadata/properties"/>
    <ds:schemaRef ds:uri="1d02c0c7-83c0-425b-8426-43fcc1c11218"/>
    <ds:schemaRef ds:uri="http://schemas.openxmlformats.org/package/2006/metadata/core-properties"/>
    <ds:schemaRef ds:uri="08fc3300-ce5b-4e94-a858-f10c09fb4735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67A36F8-69CB-4929-8A47-6FFF8A56ACC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D11497-0772-4349-9D35-27D14654F8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02c0c7-83c0-425b-8426-43fcc1c11218"/>
    <ds:schemaRef ds:uri="08fc3300-ce5b-4e94-a858-f10c09fb47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505</Words>
  <Application>Microsoft Office PowerPoint</Application>
  <PresentationFormat>Widescreen</PresentationFormat>
  <Paragraphs>14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-apple-system</vt:lpstr>
      <vt:lpstr>Aptos</vt:lpstr>
      <vt:lpstr>Arial</vt:lpstr>
      <vt:lpstr>Calibri</vt:lpstr>
      <vt:lpstr>Segoe UI</vt:lpstr>
      <vt:lpstr>2_Office Theme</vt:lpstr>
      <vt:lpstr>2_Birlasoft Corporate Presentation Template 2023-24</vt:lpstr>
      <vt:lpstr>think-cell Slide</vt:lpstr>
      <vt:lpstr>PowerPoint Presentation</vt:lpstr>
      <vt:lpstr>PowerPoint Presentation</vt:lpstr>
    </vt:vector>
  </TitlesOfParts>
  <Manager>Sanjay A</Manager>
  <Company>Digital &amp; Data - Application Engineer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loy Generative AI at scale with Birlasoft cogito platform</dc:title>
  <dc:subject>Offerings, Capabilities, Differentiators and Key Case Studies</dc:subject>
  <dc:creator>Pawan Tyagi</dc:creator>
  <cp:keywords>Key GenAI programs, Case Studies, GenAI practice, Cogito Platform, Features, Library of use cases</cp:keywords>
  <dc:description>This document contains Offerings, Capabilities, Differentiators and Key Case Studies of GenAI programs, Cogito Platform, Library of Use Cases</dc:description>
  <cp:lastModifiedBy>Swapnil Saxena</cp:lastModifiedBy>
  <cp:revision>3</cp:revision>
  <dcterms:created xsi:type="dcterms:W3CDTF">2024-05-31T10:37:46Z</dcterms:created>
  <dcterms:modified xsi:type="dcterms:W3CDTF">2026-05-25T06:30:57Z</dcterms:modified>
  <cp:category>HBU Capabiliti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E500F81820CF489DF1DE81A729E6FB</vt:lpwstr>
  </property>
  <property fmtid="{D5CDD505-2E9C-101B-9397-08002B2CF9AE}" pid="3" name="MSIP_Label_48a73b57-0f56-4cc3-b485-ed04b0d9b9a3_Enabled">
    <vt:lpwstr>true</vt:lpwstr>
  </property>
  <property fmtid="{D5CDD505-2E9C-101B-9397-08002B2CF9AE}" pid="4" name="MSIP_Label_48a73b57-0f56-4cc3-b485-ed04b0d9b9a3_SetDate">
    <vt:lpwstr>2026-02-02T18:43:47Z</vt:lpwstr>
  </property>
  <property fmtid="{D5CDD505-2E9C-101B-9397-08002B2CF9AE}" pid="5" name="MSIP_Label_48a73b57-0f56-4cc3-b485-ed04b0d9b9a3_Method">
    <vt:lpwstr>Privileged</vt:lpwstr>
  </property>
  <property fmtid="{D5CDD505-2E9C-101B-9397-08002B2CF9AE}" pid="6" name="MSIP_Label_48a73b57-0f56-4cc3-b485-ed04b0d9b9a3_Name">
    <vt:lpwstr>Internal</vt:lpwstr>
  </property>
  <property fmtid="{D5CDD505-2E9C-101B-9397-08002B2CF9AE}" pid="7" name="MSIP_Label_48a73b57-0f56-4cc3-b485-ed04b0d9b9a3_SiteId">
    <vt:lpwstr>d79da2e9-d03a-4707-9da7-67a34ac6465c</vt:lpwstr>
  </property>
  <property fmtid="{D5CDD505-2E9C-101B-9397-08002B2CF9AE}" pid="8" name="MSIP_Label_48a73b57-0f56-4cc3-b485-ed04b0d9b9a3_ActionId">
    <vt:lpwstr>0ddd4253-3ff0-4ba9-8afc-7eb909de73ab</vt:lpwstr>
  </property>
  <property fmtid="{D5CDD505-2E9C-101B-9397-08002B2CF9AE}" pid="9" name="MSIP_Label_48a73b57-0f56-4cc3-b485-ed04b0d9b9a3_ContentBits">
    <vt:lpwstr>1</vt:lpwstr>
  </property>
  <property fmtid="{D5CDD505-2E9C-101B-9397-08002B2CF9AE}" pid="10" name="MSIP_Label_48a73b57-0f56-4cc3-b485-ed04b0d9b9a3_Tag">
    <vt:lpwstr>10, 0, 1, 1</vt:lpwstr>
  </property>
  <property fmtid="{D5CDD505-2E9C-101B-9397-08002B2CF9AE}" pid="11" name="ClassificationContentMarkingHeaderLocations">
    <vt:lpwstr>2_Office Theme:3\7_Office Theme:3</vt:lpwstr>
  </property>
  <property fmtid="{D5CDD505-2E9C-101B-9397-08002B2CF9AE}" pid="12" name="ClassificationContentMarkingHeaderText">
    <vt:lpwstr>Classification: Internal</vt:lpwstr>
  </property>
  <property fmtid="{D5CDD505-2E9C-101B-9397-08002B2CF9AE}" pid="13" name="MediaServiceImageTags">
    <vt:lpwstr/>
  </property>
</Properties>
</file>